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5"/>
  </p:sldMasterIdLst>
  <p:notesMasterIdLst>
    <p:notesMasterId r:id="rId49"/>
  </p:notesMasterIdLst>
  <p:handoutMasterIdLst>
    <p:handoutMasterId r:id="rId50"/>
  </p:handoutMasterIdLst>
  <p:sldIdLst>
    <p:sldId id="256" r:id="rId6"/>
    <p:sldId id="272" r:id="rId7"/>
    <p:sldId id="277" r:id="rId8"/>
    <p:sldId id="278" r:id="rId9"/>
    <p:sldId id="280" r:id="rId10"/>
    <p:sldId id="321" r:id="rId11"/>
    <p:sldId id="281" r:id="rId12"/>
    <p:sldId id="282" r:id="rId13"/>
    <p:sldId id="290" r:id="rId14"/>
    <p:sldId id="283" r:id="rId15"/>
    <p:sldId id="291" r:id="rId16"/>
    <p:sldId id="292" r:id="rId17"/>
    <p:sldId id="293" r:id="rId18"/>
    <p:sldId id="285" r:id="rId19"/>
    <p:sldId id="296" r:id="rId20"/>
    <p:sldId id="294" r:id="rId21"/>
    <p:sldId id="295" r:id="rId22"/>
    <p:sldId id="297" r:id="rId23"/>
    <p:sldId id="298" r:id="rId24"/>
    <p:sldId id="300" r:id="rId25"/>
    <p:sldId id="299" r:id="rId26"/>
    <p:sldId id="287" r:id="rId27"/>
    <p:sldId id="302" r:id="rId28"/>
    <p:sldId id="288" r:id="rId29"/>
    <p:sldId id="303" r:id="rId30"/>
    <p:sldId id="304" r:id="rId31"/>
    <p:sldId id="305" r:id="rId32"/>
    <p:sldId id="306" r:id="rId33"/>
    <p:sldId id="314" r:id="rId34"/>
    <p:sldId id="315" r:id="rId35"/>
    <p:sldId id="289" r:id="rId36"/>
    <p:sldId id="308" r:id="rId37"/>
    <p:sldId id="310" r:id="rId38"/>
    <p:sldId id="311" r:id="rId39"/>
    <p:sldId id="312" r:id="rId40"/>
    <p:sldId id="316" r:id="rId41"/>
    <p:sldId id="317" r:id="rId42"/>
    <p:sldId id="318" r:id="rId43"/>
    <p:sldId id="319" r:id="rId44"/>
    <p:sldId id="320" r:id="rId45"/>
    <p:sldId id="322" r:id="rId46"/>
    <p:sldId id="267" r:id="rId47"/>
    <p:sldId id="276" r:id="rId48"/>
  </p:sldIdLst>
  <p:sldSz cx="12192000" cy="6858000"/>
  <p:notesSz cx="6797675" cy="9926638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056" userDrawn="1">
          <p15:clr>
            <a:srgbClr val="A4A3A4"/>
          </p15:clr>
        </p15:guide>
        <p15:guide id="2" pos="19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adley, Chris" initials="" lastIdx="54" clrIdx="0"/>
  <p:cmAuthor id="2" name="Andrew Moroney" initials="AM" lastIdx="17" clrIdx="1">
    <p:extLst>
      <p:ext uri="{19B8F6BF-5375-455C-9EA6-DF929625EA0E}">
        <p15:presenceInfo xmlns:p15="http://schemas.microsoft.com/office/powerpoint/2012/main" userId="S::amoroney@symmetrimkting.onmicrosoft.com::b2bb6e96-e539-45a8-9a55-bc168aadae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06997"/>
    <a:srgbClr val="E08C30"/>
    <a:srgbClr val="309CE2"/>
    <a:srgbClr val="6B2146"/>
    <a:srgbClr val="F1BD59"/>
    <a:srgbClr val="E8E8E8"/>
    <a:srgbClr val="A26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83" d="100"/>
          <a:sy n="83" d="100"/>
        </p:scale>
        <p:origin x="420" y="78"/>
      </p:cViewPr>
      <p:guideLst>
        <p:guide orient="horz" pos="1056"/>
        <p:guide pos="19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39" Type="http://schemas.openxmlformats.org/officeDocument/2006/relationships/slide" Target="slides/slide34.xml"/><Relationship Id="rId21" Type="http://schemas.openxmlformats.org/officeDocument/2006/relationships/slide" Target="slides/slide16.xml"/><Relationship Id="rId34" Type="http://schemas.openxmlformats.org/officeDocument/2006/relationships/slide" Target="slides/slide29.xml"/><Relationship Id="rId42" Type="http://schemas.openxmlformats.org/officeDocument/2006/relationships/slide" Target="slides/slide37.xml"/><Relationship Id="rId47" Type="http://schemas.openxmlformats.org/officeDocument/2006/relationships/slide" Target="slides/slide42.xml"/><Relationship Id="rId50" Type="http://schemas.openxmlformats.org/officeDocument/2006/relationships/handoutMaster" Target="handoutMasters/handoutMaster1.xml"/><Relationship Id="rId55" Type="http://schemas.openxmlformats.org/officeDocument/2006/relationships/tableStyles" Target="tableStyles.xml"/><Relationship Id="rId7" Type="http://schemas.openxmlformats.org/officeDocument/2006/relationships/slide" Target="slides/slide2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9" Type="http://schemas.openxmlformats.org/officeDocument/2006/relationships/slide" Target="slides/slide24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slide" Target="slides/slide27.xml"/><Relationship Id="rId37" Type="http://schemas.openxmlformats.org/officeDocument/2006/relationships/slide" Target="slides/slide32.xml"/><Relationship Id="rId40" Type="http://schemas.openxmlformats.org/officeDocument/2006/relationships/slide" Target="slides/slide35.xml"/><Relationship Id="rId45" Type="http://schemas.openxmlformats.org/officeDocument/2006/relationships/slide" Target="slides/slide40.xml"/><Relationship Id="rId53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4" Type="http://schemas.openxmlformats.org/officeDocument/2006/relationships/slide" Target="slides/slide39.xml"/><Relationship Id="rId52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slide" Target="slides/slide30.xml"/><Relationship Id="rId43" Type="http://schemas.openxmlformats.org/officeDocument/2006/relationships/slide" Target="slides/slide38.xml"/><Relationship Id="rId48" Type="http://schemas.openxmlformats.org/officeDocument/2006/relationships/slide" Target="slides/slide43.xml"/><Relationship Id="rId8" Type="http://schemas.openxmlformats.org/officeDocument/2006/relationships/slide" Target="slides/slide3.xml"/><Relationship Id="rId51" Type="http://schemas.openxmlformats.org/officeDocument/2006/relationships/commentAuthors" Target="commentAuthors.xml"/><Relationship Id="rId3" Type="http://schemas.openxmlformats.org/officeDocument/2006/relationships/customXml" Target="../customXml/item3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slide" Target="slides/slide28.xml"/><Relationship Id="rId38" Type="http://schemas.openxmlformats.org/officeDocument/2006/relationships/slide" Target="slides/slide33.xml"/><Relationship Id="rId46" Type="http://schemas.openxmlformats.org/officeDocument/2006/relationships/slide" Target="slides/slide41.xml"/><Relationship Id="rId20" Type="http://schemas.openxmlformats.org/officeDocument/2006/relationships/slide" Target="slides/slide15.xml"/><Relationship Id="rId41" Type="http://schemas.openxmlformats.org/officeDocument/2006/relationships/slide" Target="slides/slide36.xml"/><Relationship Id="rId54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slide" Target="slides/slide31.xml"/><Relationship Id="rId49" Type="http://schemas.openxmlformats.org/officeDocument/2006/relationships/notesMaster" Target="notesMasters/notes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5A5692B-6477-2049-AA20-08EC604497E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246276B-3CEC-2249-A187-CC7555F1D6D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>
              <a:defRPr/>
            </a:pPr>
            <a:fld id="{D7C369D2-67BF-7C45-BDCC-72FE6BCF9456}" type="datetimeFigureOut">
              <a:rPr lang="en-US"/>
              <a:pPr>
                <a:defRPr/>
              </a:pPr>
              <a:t>6/1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D474D6C-5243-4A43-BB3C-5195501739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13867FB-BF18-DC4E-8558-87FA95231B06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>
              <a:defRPr/>
            </a:pPr>
            <a:fld id="{2F0D89E4-5742-D54C-8F4C-D149D0182F6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ABA6ABB6-15FD-D84C-9A3E-EC89EA92965F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F5BC136-A784-DF46-B963-AB37EEC2A9B0}"/>
              </a:ext>
            </a:extLst>
          </p:cNvPr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fld id="{0DB12E7C-6522-3949-80AA-8AF272B7B44B}" type="datetimeFigureOut">
              <a:rPr lang="en-US"/>
              <a:pPr>
                <a:defRPr/>
              </a:pPr>
              <a:t>6/12/2024</a:t>
            </a:fld>
            <a:endParaRPr lang="en-US"/>
          </a:p>
        </p:txBody>
      </p:sp>
      <p:sp>
        <p:nvSpPr>
          <p:cNvPr id="4" name="Slide Image Placeholder 3">
            <a:extLst>
              <a:ext uri="{FF2B5EF4-FFF2-40B4-BE49-F238E27FC236}">
                <a16:creationId xmlns:a16="http://schemas.microsoft.com/office/drawing/2014/main" id="{9FEB77EC-4971-714F-AE12-6684F77AA8E6}"/>
              </a:ext>
            </a:extLst>
          </p:cNvPr>
          <p:cNvSpPr>
            <a:spLocks noGrp="1" noRot="1" noChangeAspect="1"/>
          </p:cNvSpPr>
          <p:nvPr>
            <p:ph type="sldImg" idx="2"/>
          </p:nvPr>
        </p:nvSpPr>
        <p:spPr>
          <a:xfrm>
            <a:off x="92075" y="746125"/>
            <a:ext cx="6613525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249" tIns="46625" rIns="93249" bIns="46625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>
            <a:extLst>
              <a:ext uri="{FF2B5EF4-FFF2-40B4-BE49-F238E27FC236}">
                <a16:creationId xmlns:a16="http://schemas.microsoft.com/office/drawing/2014/main" id="{55165EB4-23D3-7B47-874E-B45D786060F3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81038" y="4714875"/>
            <a:ext cx="5435600" cy="4465638"/>
          </a:xfrm>
          <a:prstGeom prst="rect">
            <a:avLst/>
          </a:prstGeom>
        </p:spPr>
        <p:txBody>
          <a:bodyPr vert="horz" lIns="93249" tIns="46625" rIns="93249" bIns="46625" rtlCol="0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264A7CA-6F85-CF43-9AD9-D51D342B405D}"/>
              </a:ext>
            </a:extLst>
          </p:cNvPr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5300"/>
          </a:xfrm>
          <a:prstGeom prst="rect">
            <a:avLst/>
          </a:prstGeom>
        </p:spPr>
        <p:txBody>
          <a:bodyPr vert="horz" lIns="93249" tIns="46625" rIns="93249" bIns="46625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3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2D8F8CE-F765-C94D-BCB1-1AD6375F799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5300"/>
          </a:xfrm>
          <a:prstGeom prst="rect">
            <a:avLst/>
          </a:prstGeom>
        </p:spPr>
        <p:txBody>
          <a:bodyPr vert="horz" wrap="square" lIns="93249" tIns="46625" rIns="93249" bIns="46625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300"/>
            </a:lvl1pPr>
          </a:lstStyle>
          <a:p>
            <a:pPr>
              <a:defRPr/>
            </a:pPr>
            <a:fld id="{D8A447E7-169B-B24C-B416-D5F38AE950DB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3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7464195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3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913962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3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9903502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3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060471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4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2438429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D8A447E7-169B-B24C-B416-D5F38AE950DB}" type="slidenum">
              <a:rPr lang="en-US" altLang="en-US" smtClean="0"/>
              <a:pPr>
                <a:defRPr/>
              </a:pPr>
              <a:t>41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8525773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9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man, snow, dark, board&#10;&#10;Description automatically generated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32"/>
          <a:stretch/>
        </p:blipFill>
        <p:spPr>
          <a:xfrm>
            <a:off x="1" y="0"/>
            <a:ext cx="12191999" cy="7040880"/>
          </a:xfrm>
          <a:prstGeom prst="rect">
            <a:avLst/>
          </a:prstGeom>
        </p:spPr>
      </p:pic>
      <p:sp>
        <p:nvSpPr>
          <p:cNvPr id="13" name="Title 1">
            <a:extLst>
              <a:ext uri="{FF2B5EF4-FFF2-40B4-BE49-F238E27FC236}">
                <a16:creationId xmlns:a16="http://schemas.microsoft.com/office/drawing/2014/main" id="{0CB85661-1C37-374F-8238-49A246604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3D67399F-2F8D-A643-87E5-6F25A4856AD3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pic>
        <p:nvPicPr>
          <p:cNvPr id="11" name="Picture 2">
            <a:extLst>
              <a:ext uri="{FF2B5EF4-FFF2-40B4-BE49-F238E27FC236}">
                <a16:creationId xmlns:a16="http://schemas.microsoft.com/office/drawing/2014/main" id="{E44E173F-EAB6-A74E-A9D6-972844EECBB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EAE1B532-F0D5-AC46-9B54-9642602857A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F7CB08A0-0B4A-584E-94C9-3ACA18068B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131492504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TitleContent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1732BA25-485C-654E-9D4F-3B2F8D2140B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371600"/>
            <a:ext cx="5394960" cy="30777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DD6AB8B4-94DA-B34F-86F4-EA57D2F3B1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40000" y="1813560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4">
            <a:extLst>
              <a:ext uri="{FF2B5EF4-FFF2-40B4-BE49-F238E27FC236}">
                <a16:creationId xmlns:a16="http://schemas.microsoft.com/office/drawing/2014/main" id="{74196C7B-0C60-3F4F-B1B8-6BC9BED96EF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305040" y="1394949"/>
            <a:ext cx="5394960" cy="307777"/>
          </a:xfrm>
        </p:spPr>
        <p:txBody>
          <a:bodyPr anchor="b"/>
          <a:lstStyle>
            <a:lvl1pPr marL="0" indent="0">
              <a:buNone/>
              <a:defRPr sz="2000" b="0">
                <a:solidFill>
                  <a:schemeClr val="tx2"/>
                </a:solidFill>
                <a:latin typeface="+mj-lt"/>
              </a:defRPr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5808421-7E1B-F549-9DC4-C4C73547B2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305040" y="1813560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Line 4">
            <a:extLst>
              <a:ext uri="{FF2B5EF4-FFF2-40B4-BE49-F238E27FC236}">
                <a16:creationId xmlns:a16="http://schemas.microsoft.com/office/drawing/2014/main" id="{B71FC5EE-EAC7-6F4D-AB1C-A222DB84BFE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9A33FC2B-4E70-1041-81BE-E2A806791A89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724FD9-B195-F841-B21A-B3DFF1F6581C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AB6671D-7D46-814F-81AA-C9380280E15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itle 11">
            <a:extLst>
              <a:ext uri="{FF2B5EF4-FFF2-40B4-BE49-F238E27FC236}">
                <a16:creationId xmlns:a16="http://schemas.microsoft.com/office/drawing/2014/main" id="{8D2227F4-9F99-7D40-BD09-C314B5BF6F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11404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Content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3">
            <a:extLst>
              <a:ext uri="{FF2B5EF4-FFF2-40B4-BE49-F238E27FC236}">
                <a16:creationId xmlns:a16="http://schemas.microsoft.com/office/drawing/2014/main" id="{DD6AB8B4-94DA-B34F-86F4-EA57D2F3B13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33400" y="1394949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5">
            <a:extLst>
              <a:ext uri="{FF2B5EF4-FFF2-40B4-BE49-F238E27FC236}">
                <a16:creationId xmlns:a16="http://schemas.microsoft.com/office/drawing/2014/main" id="{65808421-7E1B-F549-9DC4-C4C73547B21C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73301" y="1394949"/>
            <a:ext cx="5394960" cy="4114800"/>
          </a:xfrm>
        </p:spPr>
        <p:txBody>
          <a:bodyPr/>
          <a:lstStyle>
            <a:lvl1pPr>
              <a:defRPr sz="1800">
                <a:solidFill>
                  <a:schemeClr val="tx1"/>
                </a:solidFill>
                <a:latin typeface="+mn-lt"/>
              </a:defRPr>
            </a:lvl1pPr>
            <a:lvl2pPr>
              <a:defRPr sz="1800">
                <a:solidFill>
                  <a:schemeClr val="tx1"/>
                </a:solidFill>
                <a:latin typeface="+mn-lt"/>
              </a:defRPr>
            </a:lvl2pPr>
            <a:lvl3pPr>
              <a:defRPr sz="1800">
                <a:solidFill>
                  <a:schemeClr val="tx1"/>
                </a:solidFill>
                <a:latin typeface="+mn-lt"/>
              </a:defRPr>
            </a:lvl3pPr>
            <a:lvl4pPr>
              <a:defRPr sz="1800">
                <a:solidFill>
                  <a:schemeClr val="tx1"/>
                </a:solidFill>
                <a:latin typeface="+mn-lt"/>
              </a:defRPr>
            </a:lvl4pPr>
            <a:lvl5pPr>
              <a:defRPr sz="1800">
                <a:solidFill>
                  <a:schemeClr val="tx1"/>
                </a:solidFill>
                <a:latin typeface="+mn-lt"/>
              </a:defRPr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C865B244-9D81-A448-92FE-7F72B17239F7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0117C3B9-5D1A-ED46-8733-C0CFE66A02B2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BF456DB-14CA-6E46-AC77-2C49D459E167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4D07B2C-3250-0649-B7E7-AEC1F007621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1">
            <a:extLst>
              <a:ext uri="{FF2B5EF4-FFF2-40B4-BE49-F238E27FC236}">
                <a16:creationId xmlns:a16="http://schemas.microsoft.com/office/drawing/2014/main" id="{026ACE90-3151-CB4A-A4EA-61A4778C29A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993932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+No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ine 4">
            <a:extLst>
              <a:ext uri="{FF2B5EF4-FFF2-40B4-BE49-F238E27FC236}">
                <a16:creationId xmlns:a16="http://schemas.microsoft.com/office/drawing/2014/main" id="{079911C8-D2ED-0A46-BAB8-D0330C15C334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4F84915-EF94-264E-9D1E-213693CDA32A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2B26345-2CCE-2246-9B7C-286C8E745625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9BE9EB27-EB7E-CA4A-B933-DB7328D314C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4B63BE64-FD09-424A-99D4-75F3044022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45847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32953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2">
            <a:extLst>
              <a:ext uri="{FF2B5EF4-FFF2-40B4-BE49-F238E27FC236}">
                <a16:creationId xmlns:a16="http://schemas.microsoft.com/office/drawing/2014/main" id="{8AE3DE85-A0B7-7244-96BE-6DE7E3672B0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796415" y="4064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1" hidden="1">
            <a:extLst>
              <a:ext uri="{FF2B5EF4-FFF2-40B4-BE49-F238E27FC236}">
                <a16:creationId xmlns:a16="http://schemas.microsoft.com/office/drawing/2014/main" id="{E49728A8-907B-D94F-B5E0-AF528C7EF6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95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100" imgH="38100" progId="TCLayout.ActiveDocument.1">
                  <p:embed/>
                </p:oleObj>
              </mc:Choice>
              <mc:Fallback>
                <p:oleObj name="think-cell Slide" r:id="rId4" imgW="38100" imgH="38100" progId="TCLayout.ActiveDocument.1">
                  <p:embed/>
                  <p:pic>
                    <p:nvPicPr>
                      <p:cNvPr id="4" name="Object 1" hidden="1">
                        <a:extLst>
                          <a:ext uri="{FF2B5EF4-FFF2-40B4-BE49-F238E27FC236}">
                            <a16:creationId xmlns:a16="http://schemas.microsoft.com/office/drawing/2014/main" id="{E49728A8-907B-D94F-B5E0-AF528C7EF694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19" y="1595"/>
                        <a:ext cx="2116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 Placeholder 6">
            <a:extLst>
              <a:ext uri="{FF2B5EF4-FFF2-40B4-BE49-F238E27FC236}">
                <a16:creationId xmlns:a16="http://schemas.microsoft.com/office/drawing/2014/main" id="{1F10B4D8-D6D2-484D-AFB0-AB9F3ABE06EB}"/>
              </a:ext>
            </a:extLst>
          </p:cNvPr>
          <p:cNvSpPr>
            <a:spLocks noGrp="1" noChangeArrowheads="1"/>
          </p:cNvSpPr>
          <p:nvPr>
            <p:ph type="sldNum" sz="quarter" idx="10"/>
          </p:nvPr>
        </p:nvSpPr>
        <p:spPr>
          <a:xfrm>
            <a:off x="8540752" y="6510345"/>
            <a:ext cx="3549648" cy="230187"/>
          </a:xfrm>
          <a:prstGeom prst="rect">
            <a:avLst/>
          </a:prstGeom>
        </p:spPr>
        <p:txBody>
          <a:bodyPr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C3D7433B-0E7A-B149-B5F5-E7090AF5F01F}" type="slidenum">
              <a:rPr lang="en-US" altLang="en-US" smtClean="0"/>
              <a:pPr>
                <a:defRPr/>
              </a:pPr>
              <a:t>‹#›</a:t>
            </a:fld>
            <a:endParaRPr lang="en-US" alt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5D82347C-B1CE-FB47-8268-FAE8C6A7445D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872366B2-6CD4-1646-BD43-04804DEF127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presenters’ names and contact information.</a:t>
            </a:r>
          </a:p>
          <a:p>
            <a:endParaRPr lang="en-US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1BC1101C-BBE9-BE43-98D4-0FBD84433DCD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pic>
        <p:nvPicPr>
          <p:cNvPr id="15" name="Picture 14" descr="A close up of a logo&#10;&#10;Description automatically generated">
            <a:extLst>
              <a:ext uri="{FF2B5EF4-FFF2-40B4-BE49-F238E27FC236}">
                <a16:creationId xmlns:a16="http://schemas.microsoft.com/office/drawing/2014/main" id="{722A1EAB-EC4D-7B4B-B58B-60D1B70FDF4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98657137-F7A1-DD40-A5C4-7FA925C021D6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327438429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DividerBlueLight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59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0CA04C27-69CC-084D-93B5-B2739444B3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presenters’ names and contact information.</a:t>
            </a:r>
          </a:p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D69BF49E-0208-064C-BA25-B15DE23DBE81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C476674-263A-2947-9E62-9A86AFFE71D5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76357750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DividerBlueLight">
    <p:bg>
      <p:bgPr>
        <a:gradFill flip="none" rotWithShape="1">
          <a:gsLst>
            <a:gs pos="0">
              <a:schemeClr val="accent3">
                <a:lumMod val="60000"/>
                <a:lumOff val="40000"/>
              </a:schemeClr>
            </a:gs>
            <a:gs pos="58000">
              <a:schemeClr val="accent3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E89373A7-901E-D645-8944-D0AD905DA40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presenters’ names and contact information.</a:t>
            </a:r>
          </a:p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18617503-5657-9843-88D3-A4AF147744E4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F9FAC7E-A34C-8849-9219-E0A37EE1B518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11703033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DividerBlueLight">
    <p:bg>
      <p:bgPr>
        <a:gradFill flip="none" rotWithShape="1">
          <a:gsLst>
            <a:gs pos="0">
              <a:schemeClr val="accent5">
                <a:lumMod val="60000"/>
                <a:lumOff val="40000"/>
              </a:schemeClr>
            </a:gs>
            <a:gs pos="85000">
              <a:schemeClr val="accent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77CA6B5-AA48-744F-8353-3877A6DE002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en-US"/>
              <a:t>Click to add presenters’ names and contact information.</a:t>
            </a:r>
          </a:p>
          <a:p>
            <a:endParaRPr lang="en-US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F66E3B9A-E5FF-AB4F-A4F5-C11DC9C0334B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bg1"/>
                </a:solidFill>
                <a:latin typeface="+mj-lt"/>
              </a:rPr>
              <a:t>T</a:t>
            </a:r>
            <a:r>
              <a:rPr lang="en-US" sz="6000" spc="-300">
                <a:solidFill>
                  <a:schemeClr val="bg1"/>
                </a:solidFill>
                <a:latin typeface="+mj-lt"/>
              </a:rPr>
              <a:t>hank you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4C9B092-27A7-3149-8ECE-36E5EE9B928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19497952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hankYou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D4E28978-8C2B-0C46-90CE-8B2E7EEFE91B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40000" y="2971800"/>
            <a:ext cx="4229100" cy="3124200"/>
          </a:xfrm>
        </p:spPr>
        <p:txBody>
          <a:bodyPr/>
          <a:lstStyle>
            <a:lvl1pPr marL="0" indent="0">
              <a:buFontTx/>
              <a:buNone/>
              <a:defRPr sz="1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add presenters names and contact information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04389F44-22A0-0B4F-8898-0FBF7CD0C881}"/>
              </a:ext>
            </a:extLst>
          </p:cNvPr>
          <p:cNvSpPr txBox="1">
            <a:spLocks/>
          </p:cNvSpPr>
          <p:nvPr userDrawn="1"/>
        </p:nvSpPr>
        <p:spPr>
          <a:xfrm>
            <a:off x="540000" y="1752600"/>
            <a:ext cx="4229100" cy="92333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400" kern="1200" baseline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6000">
                <a:solidFill>
                  <a:schemeClr val="tx2"/>
                </a:solidFill>
                <a:latin typeface="+mj-lt"/>
              </a:rPr>
              <a:t>T</a:t>
            </a:r>
            <a:r>
              <a:rPr lang="en-US" sz="6000" spc="-300">
                <a:solidFill>
                  <a:schemeClr val="tx2"/>
                </a:solidFill>
                <a:latin typeface="+mj-lt"/>
              </a:rPr>
              <a:t>hank you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8A5CC14-BEF9-684C-9436-63F58A0F2727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7400" y="354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57175F64-ECBF-A840-A358-F9769863F339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</p:spTree>
    <p:extLst>
      <p:ext uri="{BB962C8B-B14F-4D97-AF65-F5344CB8AC3E}">
        <p14:creationId xmlns:p14="http://schemas.microsoft.com/office/powerpoint/2010/main" val="48075119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Grad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C96EB6-0A45-9543-9CFA-A82047C6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E145B52B-7B3C-D842-AD43-5B663E78B76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 descr="A close up of a logo&#10;&#10;Description automatically generated">
            <a:extLst>
              <a:ext uri="{FF2B5EF4-FFF2-40B4-BE49-F238E27FC236}">
                <a16:creationId xmlns:a16="http://schemas.microsoft.com/office/drawing/2014/main" id="{379CA408-1A81-8A43-96A3-E92434DEE548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418307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954" y="0"/>
            <a:ext cx="12188093" cy="7040880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979D7853-A14F-274D-9A79-B3717CAB812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CFD5F60D-8010-194F-A1D6-82CE0BDFA31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A80FE78-A926-474D-A92B-1CCC390F2C7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13" name="Date Placeholder 3">
            <a:extLst>
              <a:ext uri="{FF2B5EF4-FFF2-40B4-BE49-F238E27FC236}">
                <a16:creationId xmlns:a16="http://schemas.microsoft.com/office/drawing/2014/main" id="{6C33D16A-4F47-314D-A901-56C3EDAF9BB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4" name="Footer Placeholder 4">
            <a:extLst>
              <a:ext uri="{FF2B5EF4-FFF2-40B4-BE49-F238E27FC236}">
                <a16:creationId xmlns:a16="http://schemas.microsoft.com/office/drawing/2014/main" id="{96984216-093C-644F-8F77-0B3269E5C53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89317245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BlueLight">
    <p:bg>
      <p:bgPr>
        <a:gradFill flip="none" rotWithShape="1">
          <a:gsLst>
            <a:gs pos="0">
              <a:schemeClr val="accent1">
                <a:lumMod val="60000"/>
                <a:lumOff val="40000"/>
              </a:schemeClr>
            </a:gs>
            <a:gs pos="59000">
              <a:schemeClr val="accent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675848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BlueLight">
    <p:bg>
      <p:bgPr>
        <a:gradFill flip="none" rotWithShape="1">
          <a:gsLst>
            <a:gs pos="0">
              <a:schemeClr val="accent3">
                <a:lumMod val="60000"/>
                <a:lumOff val="40000"/>
              </a:schemeClr>
            </a:gs>
            <a:gs pos="58000">
              <a:schemeClr val="accent3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329175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DividerBlueLight">
    <p:bg>
      <p:bgPr>
        <a:gradFill flip="none" rotWithShape="1">
          <a:gsLst>
            <a:gs pos="0">
              <a:schemeClr val="accent5">
                <a:lumMod val="60000"/>
                <a:lumOff val="40000"/>
              </a:schemeClr>
            </a:gs>
            <a:gs pos="85000">
              <a:schemeClr val="accent5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8429D675-C833-1D41-AFC7-D044AD2BD36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29800" y="330200"/>
            <a:ext cx="2108200" cy="203200"/>
          </a:xfrm>
          <a:prstGeom prst="rect">
            <a:avLst/>
          </a:prstGeom>
        </p:spPr>
      </p:pic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9500A582-9A9F-8042-821E-012A95DCD02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bg1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97695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6D72B0A4-D04A-7246-A4C0-688887A181E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33400" y="2552700"/>
            <a:ext cx="5831231" cy="1752600"/>
          </a:xfrm>
        </p:spPr>
        <p:txBody>
          <a:bodyPr/>
          <a:lstStyle>
            <a:lvl1pPr marL="0" indent="0">
              <a:buFontTx/>
              <a:buNone/>
              <a:defRPr sz="4800" b="0">
                <a:solidFill>
                  <a:schemeClr val="tx2"/>
                </a:solidFill>
                <a:latin typeface="+mj-lt"/>
              </a:defRPr>
            </a:lvl1pPr>
            <a:lvl2pPr marL="116586" indent="0">
              <a:buFontTx/>
              <a:buNone/>
              <a:defRPr/>
            </a:lvl2pPr>
            <a:lvl3pPr marL="226314" indent="0">
              <a:buFontTx/>
              <a:buNone/>
              <a:defRPr/>
            </a:lvl3pPr>
            <a:lvl4pPr marL="322326" indent="0">
              <a:buFontTx/>
              <a:buNone/>
              <a:defRPr/>
            </a:lvl4pPr>
            <a:lvl5pPr marL="418338" indent="0">
              <a:buFontTx/>
              <a:buNone/>
              <a:defRPr/>
            </a:lvl5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A3B451-61E5-AF45-8505-DA598AAEB80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77400" y="354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173412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ADC96EB6-0A45-9543-9CFA-A82047C6D1A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Picture 2">
            <a:extLst>
              <a:ext uri="{FF2B5EF4-FFF2-40B4-BE49-F238E27FC236}">
                <a16:creationId xmlns:a16="http://schemas.microsoft.com/office/drawing/2014/main" id="{4B40C9C3-B8AE-684B-816C-24FBDDA584D2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041900" y="322580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9252214C-3688-DB46-A59C-4CD67AD7BCC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0" y="3505200"/>
            <a:ext cx="121920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>
              <a:buFont typeface="Arial" panose="020B0604020202020204" pitchFamily="34" charset="0"/>
              <a:buNone/>
            </a:pPr>
            <a:r>
              <a:rPr lang="en-US" altLang="en-US" sz="1200">
                <a:solidFill>
                  <a:srgbClr val="F1BD59"/>
                </a:solidFill>
                <a:latin typeface="Arial" panose="020B0604020202020204" pitchFamily="34" charset="0"/>
                <a:ea typeface="Noto Sans TC" panose="020B0502040504020204" pitchFamily="34" charset="0"/>
              </a:rPr>
              <a:t>www.kollmorgen.com</a:t>
            </a:r>
          </a:p>
        </p:txBody>
      </p:sp>
    </p:spTree>
    <p:extLst>
      <p:ext uri="{BB962C8B-B14F-4D97-AF65-F5344CB8AC3E}">
        <p14:creationId xmlns:p14="http://schemas.microsoft.com/office/powerpoint/2010/main" val="19584101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E8C7D25-8AFF-9B4F-AA7D-CAA48B0769F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0"/>
            <a:ext cx="12188093" cy="7040880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477A7CDE-D82C-E946-A6A0-131F0FB39F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87B0969-75F9-524D-AABE-C26218E9A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0ED382-D76D-2546-B418-5FC646A12C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267476A-C366-E541-B114-127C1565FB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1423F49-011E-3248-9C41-AAB0B1BB2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65441198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lit up city at sunset&#10;&#10;Description automatically generated">
            <a:extLst>
              <a:ext uri="{FF2B5EF4-FFF2-40B4-BE49-F238E27FC236}">
                <a16:creationId xmlns:a16="http://schemas.microsoft.com/office/drawing/2014/main" id="{F3097A0C-84DA-CA42-8AE2-1E4FB27D2A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0000" t="46013" b="10858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8" name="Picture 2">
            <a:extLst>
              <a:ext uri="{FF2B5EF4-FFF2-40B4-BE49-F238E27FC236}">
                <a16:creationId xmlns:a16="http://schemas.microsoft.com/office/drawing/2014/main" id="{477A7CDE-D82C-E946-A6A0-131F0FB39FF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87B0969-75F9-524D-AABE-C26218E9A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0ED382-D76D-2546-B418-5FC646A12C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14" name="Date Placeholder 3">
            <a:extLst>
              <a:ext uri="{FF2B5EF4-FFF2-40B4-BE49-F238E27FC236}">
                <a16:creationId xmlns:a16="http://schemas.microsoft.com/office/drawing/2014/main" id="{6267476A-C366-E541-B114-127C1565FB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A1423F49-011E-3248-9C41-AAB0B1BB24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42377568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Page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9B500ABB-0FE2-224F-A479-4A97616F99D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225"/>
          <a:stretch/>
        </p:blipFill>
        <p:spPr>
          <a:xfrm>
            <a:off x="0" y="-1"/>
            <a:ext cx="12191999" cy="6858001"/>
          </a:xfrm>
          <a:prstGeom prst="rect">
            <a:avLst/>
          </a:prstGeom>
        </p:spPr>
      </p:pic>
      <p:sp>
        <p:nvSpPr>
          <p:cNvPr id="10" name="Title 1">
            <a:extLst>
              <a:ext uri="{FF2B5EF4-FFF2-40B4-BE49-F238E27FC236}">
                <a16:creationId xmlns:a16="http://schemas.microsoft.com/office/drawing/2014/main" id="{487B0969-75F9-524D-AABE-C26218E9ACE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450342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90ED382-D76D-2546-B418-5FC646A12CE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529058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pic>
        <p:nvPicPr>
          <p:cNvPr id="15" name="Picture 9">
            <a:extLst>
              <a:ext uri="{FF2B5EF4-FFF2-40B4-BE49-F238E27FC236}">
                <a16:creationId xmlns:a16="http://schemas.microsoft.com/office/drawing/2014/main" id="{DEB04AA8-F24F-4740-BE8E-0E1359276A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830" y="3636130"/>
            <a:ext cx="5245787" cy="505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" name="Date Placeholder 3">
            <a:extLst>
              <a:ext uri="{FF2B5EF4-FFF2-40B4-BE49-F238E27FC236}">
                <a16:creationId xmlns:a16="http://schemas.microsoft.com/office/drawing/2014/main" id="{75C307FB-D6FE-D648-A8CD-60773FC8A77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49EC0461-79E8-A042-ABC2-9FA8524877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12214412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Page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9819D5-2642-0D43-BAE5-A9876DAEEE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37D52CC-D1CE-6543-AF76-BFA0E4155D3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450342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CDE42953-2EE1-4B4F-A9A3-7B78E75EF2A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5290581"/>
            <a:ext cx="731520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CE9F421B-EC1C-4348-B282-5DF1C953E17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7156E503-CFAE-3F48-B10E-9A022C7DB0D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tx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  <p:pic>
        <p:nvPicPr>
          <p:cNvPr id="14" name="Picture 9">
            <a:extLst>
              <a:ext uri="{FF2B5EF4-FFF2-40B4-BE49-F238E27FC236}">
                <a16:creationId xmlns:a16="http://schemas.microsoft.com/office/drawing/2014/main" id="{616EA30D-1191-8445-973A-8E0C2951B22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44830" y="3636130"/>
            <a:ext cx="5245787" cy="505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8728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Page-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4">
            <a:extLst>
              <a:ext uri="{FF2B5EF4-FFF2-40B4-BE49-F238E27FC236}">
                <a16:creationId xmlns:a16="http://schemas.microsoft.com/office/drawing/2014/main" id="{909819D5-2642-0D43-BAE5-A9876DAEEE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DC9C18-B9B9-F74A-9B0A-4C12157D7D1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33400" y="2183131"/>
            <a:ext cx="7315200" cy="578008"/>
          </a:xfrm>
          <a:prstGeom prst="rect">
            <a:avLst/>
          </a:prstGeom>
        </p:spPr>
        <p:txBody>
          <a:bodyPr anchor="b"/>
          <a:lstStyle>
            <a:lvl1pPr algn="l">
              <a:defRPr sz="3600" b="0" i="0">
                <a:solidFill>
                  <a:srgbClr val="E08C30"/>
                </a:solidFill>
                <a:latin typeface="+mj-lt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Master titl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DF6D4CA-E69A-4349-82C2-F51A8D79D9C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33400" y="2970291"/>
            <a:ext cx="5238750" cy="80486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 i="0">
                <a:solidFill>
                  <a:srgbClr val="309CE2"/>
                </a:solidFill>
                <a:latin typeface="Arial" panose="020B0604020202020204" pitchFamily="34" charset="0"/>
                <a:ea typeface="Noto Sans TC" panose="020B0500000000000000" pitchFamily="34" charset="-128"/>
                <a:cs typeface="Arial" panose="020B0604020202020204" pitchFamily="34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Add subtitle here</a:t>
            </a:r>
          </a:p>
        </p:txBody>
      </p:sp>
      <p:sp>
        <p:nvSpPr>
          <p:cNvPr id="11" name="Date Placeholder 3">
            <a:extLst>
              <a:ext uri="{FF2B5EF4-FFF2-40B4-BE49-F238E27FC236}">
                <a16:creationId xmlns:a16="http://schemas.microsoft.com/office/drawing/2014/main" id="{4862920D-32D5-3941-B57E-C3673390C66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33400" y="6356357"/>
            <a:ext cx="284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Date Here</a:t>
            </a:r>
          </a:p>
        </p:txBody>
      </p:sp>
      <p:sp>
        <p:nvSpPr>
          <p:cNvPr id="12" name="Footer Placeholder 4">
            <a:extLst>
              <a:ext uri="{FF2B5EF4-FFF2-40B4-BE49-F238E27FC236}">
                <a16:creationId xmlns:a16="http://schemas.microsoft.com/office/drawing/2014/main" id="{44136D72-A85C-874E-90C4-FD82F3C727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89400" y="6356357"/>
            <a:ext cx="3860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Footer Text Here</a:t>
            </a:r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78456883-5E4B-AE40-99E2-39334F92B54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3400" y="1108711"/>
            <a:ext cx="5522471" cy="532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409117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52449" y="1304924"/>
            <a:ext cx="11134725" cy="463867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AB5A3923-9C3D-DF4A-BF03-058AD52BC0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14276-D680-8F42-8B44-F0694C49B72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D822C1-5107-BF4A-ABA1-52C70B73A7C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9A4869-4EEB-3349-B9E0-7A85E05251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11">
            <a:extLst>
              <a:ext uri="{FF2B5EF4-FFF2-40B4-BE49-F238E27FC236}">
                <a16:creationId xmlns:a16="http://schemas.microsoft.com/office/drawing/2014/main" id="{B397F1BA-CCE4-304A-9F69-BDFD877E77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73906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+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41020" y="1304924"/>
            <a:ext cx="5543550" cy="463867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Line 4">
            <a:extLst>
              <a:ext uri="{FF2B5EF4-FFF2-40B4-BE49-F238E27FC236}">
                <a16:creationId xmlns:a16="http://schemas.microsoft.com/office/drawing/2014/main" id="{AB5A3923-9C3D-DF4A-BF03-058AD52BC062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0B14276-D680-8F42-8B44-F0694C49B723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D822C1-5107-BF4A-ABA1-52C70B73A7C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9A4869-4EEB-3349-B9E0-7A85E052513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5D29021-6F8A-424D-B811-0FB852A248A1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122670" y="1308734"/>
            <a:ext cx="5543550" cy="4638676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18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87AFC84F-2830-6849-A1E9-7B7FC81983E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48" y="222245"/>
            <a:ext cx="10515600" cy="620713"/>
          </a:xfrm>
          <a:prstGeom prst="rect">
            <a:avLst/>
          </a:prstGeom>
        </p:spPr>
        <p:txBody>
          <a:bodyPr/>
          <a:lstStyle>
            <a:lvl1pPr algn="l">
              <a:defRPr sz="3600"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327500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F25C58D-F4C3-DA4F-AB4B-AB991D9DAC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40000" y="1800000"/>
            <a:ext cx="11160000" cy="450000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Line 4">
            <a:extLst>
              <a:ext uri="{FF2B5EF4-FFF2-40B4-BE49-F238E27FC236}">
                <a16:creationId xmlns:a16="http://schemas.microsoft.com/office/drawing/2014/main" id="{50CF9C26-AC3F-BD49-ACE5-DD2DB4C1FA15}"/>
              </a:ext>
            </a:extLst>
          </p:cNvPr>
          <p:cNvSpPr>
            <a:spLocks noChangeShapeType="1"/>
          </p:cNvSpPr>
          <p:nvPr userDrawn="1"/>
        </p:nvSpPr>
        <p:spPr bwMode="auto">
          <a:xfrm>
            <a:off x="540000" y="914400"/>
            <a:ext cx="11160000" cy="0"/>
          </a:xfrm>
          <a:prstGeom prst="line">
            <a:avLst/>
          </a:prstGeom>
          <a:noFill/>
          <a:ln w="12700">
            <a:solidFill>
              <a:schemeClr val="tx2"/>
            </a:solidFill>
            <a:round/>
            <a:headEnd type="oval" w="sm" len="sm"/>
            <a:tailEnd type="oval" w="sm" len="sm"/>
          </a:ln>
          <a:effectLst/>
        </p:spPr>
        <p:txBody>
          <a:bodyPr/>
          <a:lstStyle/>
          <a:p>
            <a:pPr>
              <a:defRPr/>
            </a:pPr>
            <a:endParaRPr lang="en-US" sz="135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0C4D5CA-30C9-444A-A102-B71EB37CC4F4}"/>
              </a:ext>
            </a:extLst>
          </p:cNvPr>
          <p:cNvSpPr txBox="1"/>
          <p:nvPr userDrawn="1"/>
        </p:nvSpPr>
        <p:spPr>
          <a:xfrm>
            <a:off x="540000" y="6523912"/>
            <a:ext cx="846386" cy="115416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rtl="0"/>
            <a:r>
              <a:rPr lang="en-US" sz="75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0 Kollmorge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0420514-B30E-B749-A8C2-7504939E7BE2}"/>
              </a:ext>
            </a:extLst>
          </p:cNvPr>
          <p:cNvSpPr txBox="1"/>
          <p:nvPr userDrawn="1"/>
        </p:nvSpPr>
        <p:spPr>
          <a:xfrm>
            <a:off x="11136324" y="6492240"/>
            <a:ext cx="563676" cy="11541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043534F5-8106-454C-A466-0C6DA036C846}" type="slidenum">
              <a:rPr kumimoji="0" lang="en-US" sz="750" b="0" i="0" u="none" strike="noStrike" kern="1200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pitchFamily="34" charset="0"/>
                <a:ea typeface="+mn-ea"/>
                <a:cs typeface="Arial" pitchFamily="34" charset="0"/>
              </a:rPr>
              <a:pPr algn="r"/>
              <a:t>‹#›</a:t>
            </a:fld>
            <a:endParaRPr kumimoji="0" lang="en-US" sz="750" b="0" i="0" u="none" strike="noStrike" kern="1200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284800FB-10C7-6F46-ADA4-C73AEBF3775A}"/>
              </a:ext>
            </a:extLst>
          </p:cNvPr>
          <p:cNvSpPr txBox="1">
            <a:spLocks/>
          </p:cNvSpPr>
          <p:nvPr userDrawn="1"/>
        </p:nvSpPr>
        <p:spPr>
          <a:xfrm>
            <a:off x="421640" y="218672"/>
            <a:ext cx="6070600" cy="60025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lang="en-US" sz="2400" b="0" i="0" kern="1200" dirty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ea typeface="Noto Sans TC Medium" panose="020B0500000000000000" pitchFamily="34" charset="-128"/>
                <a:cs typeface="Arial" panose="020B0604020202020204" pitchFamily="34" charset="0"/>
              </a:defRPr>
            </a:lvl1pPr>
            <a:lvl2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0" fontAlgn="base" hangingPunct="0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fontAlgn="base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en-US" sz="3600"/>
              <a:t>Click to edit Master title style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8697A71A-5F87-7843-9B07-40256ADC9519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620250" y="514820"/>
            <a:ext cx="2108200" cy="203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70" r:id="rId1"/>
    <p:sldLayoutId id="2147484471" r:id="rId2"/>
    <p:sldLayoutId id="2147484472" r:id="rId3"/>
    <p:sldLayoutId id="2147484482" r:id="rId4"/>
    <p:sldLayoutId id="2147484473" r:id="rId5"/>
    <p:sldLayoutId id="2147484478" r:id="rId6"/>
    <p:sldLayoutId id="2147484458" r:id="rId7"/>
    <p:sldLayoutId id="2147484474" r:id="rId8"/>
    <p:sldLayoutId id="2147484475" r:id="rId9"/>
    <p:sldLayoutId id="2147484468" r:id="rId10"/>
    <p:sldLayoutId id="2147484469" r:id="rId11"/>
    <p:sldLayoutId id="2147484459" r:id="rId12"/>
    <p:sldLayoutId id="2147484467" r:id="rId13"/>
    <p:sldLayoutId id="2147484455" r:id="rId14"/>
    <p:sldLayoutId id="2147484479" r:id="rId15"/>
    <p:sldLayoutId id="2147484480" r:id="rId16"/>
    <p:sldLayoutId id="2147484481" r:id="rId17"/>
    <p:sldLayoutId id="2147484460" r:id="rId18"/>
    <p:sldLayoutId id="2147484457" r:id="rId19"/>
    <p:sldLayoutId id="2147484463" r:id="rId20"/>
    <p:sldLayoutId id="2147484476" r:id="rId21"/>
    <p:sldLayoutId id="2147484477" r:id="rId22"/>
    <p:sldLayoutId id="2147484464" r:id="rId23"/>
    <p:sldLayoutId id="2147484452" r:id="rId24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8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8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8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8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8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8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8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8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pn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53.pn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8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png"/><Relationship Id="rId2" Type="http://schemas.openxmlformats.org/officeDocument/2006/relationships/image" Target="../media/image56.png"/><Relationship Id="rId1" Type="http://schemas.openxmlformats.org/officeDocument/2006/relationships/slideLayout" Target="../slideLayouts/slideLayout8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png"/><Relationship Id="rId1" Type="http://schemas.openxmlformats.org/officeDocument/2006/relationships/slideLayout" Target="../slideLayouts/slideLayout8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image" Target="../media/image5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1.pn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9.pn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4.pn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66.pn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73.png"/><Relationship Id="rId4" Type="http://schemas.openxmlformats.org/officeDocument/2006/relationships/image" Target="../media/image72.png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30">
            <a:extLst>
              <a:ext uri="{FF2B5EF4-FFF2-40B4-BE49-F238E27FC236}">
                <a16:creationId xmlns:a16="http://schemas.microsoft.com/office/drawing/2014/main" id="{676AD980-D93C-6E49-9EE7-1276C6A035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1800" y="3792012"/>
            <a:ext cx="7315200" cy="578008"/>
          </a:xfrm>
        </p:spPr>
        <p:txBody>
          <a:bodyPr>
            <a:normAutofit fontScale="90000"/>
          </a:bodyPr>
          <a:lstStyle/>
          <a:p>
            <a:r>
              <a:rPr lang="en-US" dirty="0"/>
              <a:t>TwinCAT3 to AKD </a:t>
            </a:r>
            <a:r>
              <a:rPr lang="en-US" dirty="0" err="1"/>
              <a:t>EtherCAT</a:t>
            </a:r>
            <a:r>
              <a:rPr lang="en-US" dirty="0"/>
              <a:t> Setup and Demonstration using ESI Default Settings and Mapping and Default </a:t>
            </a:r>
            <a:r>
              <a:rPr lang="en-US" dirty="0" err="1"/>
              <a:t>EtherCAT</a:t>
            </a:r>
            <a:r>
              <a:rPr lang="en-US" dirty="0"/>
              <a:t> Scaling</a:t>
            </a:r>
            <a:br>
              <a:rPr lang="en-US" dirty="0"/>
            </a:br>
            <a:endParaRPr lang="en-US" dirty="0"/>
          </a:p>
        </p:txBody>
      </p:sp>
      <p:sp>
        <p:nvSpPr>
          <p:cNvPr id="29" name="Date Placeholder 3">
            <a:extLst>
              <a:ext uri="{FF2B5EF4-FFF2-40B4-BE49-F238E27FC236}">
                <a16:creationId xmlns:a16="http://schemas.microsoft.com/office/drawing/2014/main" id="{B5AD58FF-614E-FE46-BAD2-C68B2177D77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Date Here</a:t>
            </a:r>
          </a:p>
        </p:txBody>
      </p:sp>
      <p:sp>
        <p:nvSpPr>
          <p:cNvPr id="30" name="Footer Placeholder 4">
            <a:extLst>
              <a:ext uri="{FF2B5EF4-FFF2-40B4-BE49-F238E27FC236}">
                <a16:creationId xmlns:a16="http://schemas.microsoft.com/office/drawing/2014/main" id="{AA011D7A-5F78-B747-95BC-3645DD81E57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prstGeom prst="rect">
            <a:avLst/>
          </a:prstGeom>
        </p:spPr>
        <p:txBody>
          <a:bodyPr/>
          <a:lstStyle>
            <a:lvl1pPr>
              <a:defRPr sz="12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 dirty="0"/>
              <a:t>Footer Text Here</a:t>
            </a:r>
          </a:p>
        </p:txBody>
      </p:sp>
    </p:spTree>
    <p:extLst>
      <p:ext uri="{BB962C8B-B14F-4D97-AF65-F5344CB8AC3E}">
        <p14:creationId xmlns:p14="http://schemas.microsoft.com/office/powerpoint/2010/main" val="34707735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405357"/>
            <a:ext cx="11134725" cy="4638676"/>
          </a:xfrm>
        </p:spPr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7: Scan For De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B76834-6498-AEF2-4CE7-9F75E77CBADB}"/>
              </a:ext>
            </a:extLst>
          </p:cNvPr>
          <p:cNvSpPr txBox="1"/>
          <p:nvPr/>
        </p:nvSpPr>
        <p:spPr>
          <a:xfrm>
            <a:off x="504825" y="1036025"/>
            <a:ext cx="87317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Expand I/O in the Solution Explore and then Right-Click Devices and click Scan to scan for the Ethernet Adapter that will be used for </a:t>
            </a:r>
            <a:r>
              <a:rPr lang="en-US" sz="1800" dirty="0" err="1"/>
              <a:t>EtherCAT</a:t>
            </a:r>
            <a:r>
              <a:rPr lang="en-US" sz="1800" dirty="0"/>
              <a:t> communication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501F9D-6298-8B90-B25B-0818D4B050A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80616" y="2051688"/>
            <a:ext cx="3923871" cy="42625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277262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405357"/>
            <a:ext cx="11134725" cy="4638676"/>
          </a:xfrm>
        </p:spPr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7: Scan For Device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5B76834-6498-AEF2-4CE7-9F75E77CBADB}"/>
              </a:ext>
            </a:extLst>
          </p:cNvPr>
          <p:cNvSpPr txBox="1"/>
          <p:nvPr/>
        </p:nvSpPr>
        <p:spPr>
          <a:xfrm>
            <a:off x="504825" y="1036025"/>
            <a:ext cx="87317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Click OK on HINT dialogu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5772686-5EE5-55CB-7BDB-F6CA9889FE7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8637" y="1493458"/>
            <a:ext cx="3258005" cy="129558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B4F3DB8-CE1C-C1ED-C0D5-BEBBE0EC5B5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4669" y="3280302"/>
            <a:ext cx="5096586" cy="2972215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2639E61-A520-5B23-A141-D4C1E87156FE}"/>
              </a:ext>
            </a:extLst>
          </p:cNvPr>
          <p:cNvSpPr txBox="1"/>
          <p:nvPr/>
        </p:nvSpPr>
        <p:spPr>
          <a:xfrm>
            <a:off x="504824" y="2910970"/>
            <a:ext cx="8731771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Select the appropriate Ethernet Adapter and click OK.</a:t>
            </a:r>
            <a:endParaRPr lang="en-US" sz="1800" dirty="0"/>
          </a:p>
        </p:txBody>
      </p:sp>
    </p:spTree>
    <p:extLst>
      <p:ext uri="{BB962C8B-B14F-4D97-AF65-F5344CB8AC3E}">
        <p14:creationId xmlns:p14="http://schemas.microsoft.com/office/powerpoint/2010/main" val="363478896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8: Scan For Box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78A7A6-FEF8-4F29-A16C-0EA088571812}"/>
              </a:ext>
            </a:extLst>
          </p:cNvPr>
          <p:cNvSpPr txBox="1"/>
          <p:nvPr/>
        </p:nvSpPr>
        <p:spPr>
          <a:xfrm>
            <a:off x="504825" y="1036025"/>
            <a:ext cx="87317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Note “Boxes” is an alias for, in this case, AKD drives connected to the Ethernet Adapter for TwinCAT3.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6507A21-3891-DE3A-49B0-E4A091029C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48" y="2273656"/>
            <a:ext cx="1886213" cy="1438476"/>
          </a:xfrm>
          <a:prstGeom prst="rect">
            <a:avLst/>
          </a:prstGeom>
        </p:spPr>
      </p:pic>
      <p:sp>
        <p:nvSpPr>
          <p:cNvPr id="14" name="TextBox 13">
            <a:extLst>
              <a:ext uri="{FF2B5EF4-FFF2-40B4-BE49-F238E27FC236}">
                <a16:creationId xmlns:a16="http://schemas.microsoft.com/office/drawing/2014/main" id="{2D947215-FC9D-D676-6A48-78AC69A5C29E}"/>
              </a:ext>
            </a:extLst>
          </p:cNvPr>
          <p:cNvSpPr txBox="1"/>
          <p:nvPr/>
        </p:nvSpPr>
        <p:spPr>
          <a:xfrm>
            <a:off x="390403" y="1866706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Click Yes to scan for boxes (AKD drives)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964DCDB6-D26B-A912-B733-EA56BE9320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95290" y="4277107"/>
            <a:ext cx="3886742" cy="1428949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EC34B567-7B39-F7B7-E515-8F896A2A7550}"/>
              </a:ext>
            </a:extLst>
          </p:cNvPr>
          <p:cNvSpPr txBox="1"/>
          <p:nvPr/>
        </p:nvSpPr>
        <p:spPr>
          <a:xfrm>
            <a:off x="390403" y="3933577"/>
            <a:ext cx="609600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Click Yes to link the AKD drive to a NC axis.</a:t>
            </a:r>
          </a:p>
        </p:txBody>
      </p:sp>
    </p:spTree>
    <p:extLst>
      <p:ext uri="{BB962C8B-B14F-4D97-AF65-F5344CB8AC3E}">
        <p14:creationId xmlns:p14="http://schemas.microsoft.com/office/powerpoint/2010/main" val="99343408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9: Click No to Activating Free Run Mod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A78A7A6-FEF8-4F29-A16C-0EA088571812}"/>
              </a:ext>
            </a:extLst>
          </p:cNvPr>
          <p:cNvSpPr txBox="1"/>
          <p:nvPr/>
        </p:nvSpPr>
        <p:spPr>
          <a:xfrm>
            <a:off x="504825" y="1036025"/>
            <a:ext cx="87317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Further setup will be conducted prior to going to Run Mode so click No to not Activate Free Run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13A91A3-7502-B029-98B3-4348F65DAC1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4004" y="2059559"/>
            <a:ext cx="1895740" cy="14194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69189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0: AKD is added to Devic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C31614-6424-9C88-F6FF-4DD39C3E3E96}"/>
              </a:ext>
            </a:extLst>
          </p:cNvPr>
          <p:cNvSpPr txBox="1"/>
          <p:nvPr/>
        </p:nvSpPr>
        <p:spPr>
          <a:xfrm>
            <a:off x="552448" y="1039520"/>
            <a:ext cx="8731771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olution Explorer shows Axis 1 under NC-Task 1 SAF and Drive 1(AKD) is under Devices-&gt;Device 2(</a:t>
            </a:r>
            <a:r>
              <a:rPr lang="en-US" dirty="0" err="1"/>
              <a:t>EtherCAT</a:t>
            </a:r>
            <a:r>
              <a:rPr lang="en-US" dirty="0"/>
              <a:t>) with the default Inputs and Outputs generated from the ESI fi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ommon PDO data is shown</a:t>
            </a:r>
            <a:r>
              <a:rPr lang="en-US" dirty="0"/>
              <a:t> on the right which matches the default PDOs from the ESI file.</a:t>
            </a:r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F7F13EE3-ADF1-F31D-3DDA-F2F7FF94A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80998" y="2078101"/>
            <a:ext cx="3505977" cy="4638677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C463799-82D1-9534-312D-28DC5F2FFEE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3188" y="2228254"/>
            <a:ext cx="5604860" cy="30227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416333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1: Startup tab on Drive 1 (AKD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C31614-6424-9C88-F6FF-4DD39C3E3E96}"/>
              </a:ext>
            </a:extLst>
          </p:cNvPr>
          <p:cNvSpPr txBox="1"/>
          <p:nvPr/>
        </p:nvSpPr>
        <p:spPr>
          <a:xfrm>
            <a:off x="552448" y="1039520"/>
            <a:ext cx="8731771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Double-click on Drive 1(AKD) in the Solution Explorer.</a:t>
            </a:r>
          </a:p>
          <a:p>
            <a:r>
              <a:rPr lang="en-US" sz="1800" dirty="0"/>
              <a:t>A range of tabs are </a:t>
            </a:r>
            <a:r>
              <a:rPr lang="en-US" dirty="0"/>
              <a:t>displayed on the right (General, </a:t>
            </a:r>
            <a:r>
              <a:rPr lang="en-US" dirty="0" err="1"/>
              <a:t>EtherCAT</a:t>
            </a:r>
            <a:r>
              <a:rPr lang="en-US" dirty="0"/>
              <a:t>, etc.). Click on the Startup tab.</a:t>
            </a:r>
            <a:endParaRPr lang="en-US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8391BD6-A520-0FD3-E837-F781AA94C9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22991" y="1685851"/>
            <a:ext cx="8208594" cy="4805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09411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1: Startup tab on Drive 1 (AKD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C31614-6424-9C88-F6FF-4DD39C3E3E96}"/>
              </a:ext>
            </a:extLst>
          </p:cNvPr>
          <p:cNvSpPr txBox="1"/>
          <p:nvPr/>
        </p:nvSpPr>
        <p:spPr>
          <a:xfrm>
            <a:off x="552448" y="1039520"/>
            <a:ext cx="9830043" cy="147732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The default St</a:t>
            </a:r>
            <a:r>
              <a:rPr lang="en-US" dirty="0"/>
              <a:t>artup Tab from the ESI file provides the startup list of </a:t>
            </a:r>
            <a:r>
              <a:rPr lang="en-US" dirty="0" err="1"/>
              <a:t>CoE</a:t>
            </a:r>
            <a:r>
              <a:rPr lang="en-US" dirty="0"/>
              <a:t> SDO writes.</a:t>
            </a:r>
          </a:p>
          <a:p>
            <a:r>
              <a:rPr lang="en-US" sz="1800" dirty="0"/>
              <a:t>This includes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DOs to map the PDO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ode of O</a:t>
            </a:r>
            <a:r>
              <a:rPr lang="en-US" dirty="0"/>
              <a:t>peration ( default is 7=Interpolated Position 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KD Drive </a:t>
            </a:r>
            <a:r>
              <a:rPr lang="en-US" dirty="0" err="1"/>
              <a:t>EtherCAT</a:t>
            </a:r>
            <a:r>
              <a:rPr lang="en-US" dirty="0"/>
              <a:t> Sample Period ( FBUS.SAMPLEPERIOD ) where default is 2000 us or 2 msec</a:t>
            </a:r>
            <a:endParaRPr lang="en-US" sz="1800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3207654-48E3-6AFB-5562-1E40B7B9A42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37637" y="2516848"/>
            <a:ext cx="5059664" cy="41678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784003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5127" y="154632"/>
            <a:ext cx="10515600" cy="620713"/>
          </a:xfrm>
        </p:spPr>
        <p:txBody>
          <a:bodyPr/>
          <a:lstStyle/>
          <a:p>
            <a:r>
              <a:rPr lang="en-US" sz="2800" dirty="0"/>
              <a:t>STEP 12: Process Data ( PDO mapping 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7C31614-6424-9C88-F6FF-4DD39C3E3E96}"/>
              </a:ext>
            </a:extLst>
          </p:cNvPr>
          <p:cNvSpPr txBox="1"/>
          <p:nvPr/>
        </p:nvSpPr>
        <p:spPr>
          <a:xfrm>
            <a:off x="425127" y="914400"/>
            <a:ext cx="9830043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600" dirty="0"/>
              <a:t>Still under Drive 1 (AKD) click on the Process Data tab.</a:t>
            </a:r>
          </a:p>
          <a:p>
            <a:r>
              <a:rPr lang="en-US" sz="1600" dirty="0"/>
              <a:t>The Process Data tab shows the current (default) PDO mapping for Inputs and Outpu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0x1701 is the Fixed </a:t>
            </a:r>
            <a:r>
              <a:rPr lang="en-US" sz="1600" dirty="0" err="1"/>
              <a:t>RxPDO</a:t>
            </a:r>
            <a:r>
              <a:rPr lang="en-US" sz="1600" dirty="0"/>
              <a:t> (Output) and its PDO contents are 60C1 sub01 and 6040 as shown bel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0x1B01 is the Fixed </a:t>
            </a:r>
            <a:r>
              <a:rPr lang="en-US" sz="1600" dirty="0" err="1"/>
              <a:t>TxPDO</a:t>
            </a:r>
            <a:r>
              <a:rPr lang="en-US" sz="1600" dirty="0"/>
              <a:t> (Input) and its PDO contents are objects 6063 and 6041 as shown bel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endParaRPr lang="en-US" sz="1800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44316B0-0B1C-01F4-5622-43693C1B16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96000" y="2259956"/>
            <a:ext cx="5799713" cy="449640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A4BD852-75AA-4259-74E5-A42CC967FB6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7901" y="2259956"/>
            <a:ext cx="5914438" cy="45780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032354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48" y="1003982"/>
            <a:ext cx="11134725" cy="4638676"/>
          </a:xfrm>
        </p:spPr>
        <p:txBody>
          <a:bodyPr/>
          <a:lstStyle/>
          <a:p>
            <a:r>
              <a:rPr lang="en-US" sz="1600" dirty="0"/>
              <a:t>Using the ESI file for FW 1-23-00-002 (used in this presentation), the </a:t>
            </a:r>
            <a:r>
              <a:rPr lang="en-US" sz="1600" dirty="0" err="1"/>
              <a:t>Statusword</a:t>
            </a:r>
            <a:r>
              <a:rPr lang="en-US" sz="1600" dirty="0"/>
              <a:t> and </a:t>
            </a:r>
            <a:r>
              <a:rPr lang="en-US" sz="1600" dirty="0" err="1"/>
              <a:t>Controlword</a:t>
            </a:r>
            <a:r>
              <a:rPr lang="en-US" sz="1600" dirty="0"/>
              <a:t> are pre-linked to the NC Task-Axis 1.</a:t>
            </a:r>
          </a:p>
          <a:p>
            <a:r>
              <a:rPr lang="en-US" sz="1600" dirty="0"/>
              <a:t>Outputs-&gt;</a:t>
            </a:r>
            <a:r>
              <a:rPr lang="en-US" sz="1600" dirty="0" err="1"/>
              <a:t>Controlword</a:t>
            </a:r>
            <a:endParaRPr lang="en-US" sz="1600" dirty="0"/>
          </a:p>
          <a:p>
            <a:r>
              <a:rPr lang="en-US" sz="1600" dirty="0"/>
              <a:t>On the left below shows the Link for </a:t>
            </a:r>
            <a:r>
              <a:rPr lang="en-US" sz="1600" dirty="0" err="1"/>
              <a:t>Controlword</a:t>
            </a:r>
            <a:r>
              <a:rPr lang="en-US" sz="1600" dirty="0"/>
              <a:t> (object 6040h)</a:t>
            </a:r>
          </a:p>
          <a:p>
            <a:r>
              <a:rPr lang="en-US" sz="1600" dirty="0"/>
              <a:t>When clicking the “Linked To” button the right window appears showing the link to the NC Task-Axis 1.</a:t>
            </a:r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954" y="171991"/>
            <a:ext cx="10515600" cy="620713"/>
          </a:xfrm>
        </p:spPr>
        <p:txBody>
          <a:bodyPr/>
          <a:lstStyle/>
          <a:p>
            <a:r>
              <a:rPr lang="en-US" sz="2800" dirty="0"/>
              <a:t>STEP 13: Linking PDOs to NC Task-Axis 1 (</a:t>
            </a:r>
            <a:r>
              <a:rPr lang="en-US" sz="2800" dirty="0" err="1"/>
              <a:t>Controlword</a:t>
            </a:r>
            <a:r>
              <a:rPr lang="en-US" sz="2800" dirty="0"/>
              <a:t>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C832148-8905-0B86-2929-DD8520CBD8F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2464409"/>
            <a:ext cx="6156758" cy="376213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8B3BC250-32BC-3033-599A-F5EE84BFEF4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56758" y="2464409"/>
            <a:ext cx="5162860" cy="4151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267104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48" y="1003982"/>
            <a:ext cx="11134725" cy="4638676"/>
          </a:xfrm>
        </p:spPr>
        <p:txBody>
          <a:bodyPr/>
          <a:lstStyle/>
          <a:p>
            <a:r>
              <a:rPr lang="en-US" sz="1600" dirty="0"/>
              <a:t>Using the ESI file for FW 1-23-00-002 (used in this presentation), the </a:t>
            </a:r>
            <a:r>
              <a:rPr lang="en-US" sz="1600" dirty="0" err="1"/>
              <a:t>Statusword</a:t>
            </a:r>
            <a:r>
              <a:rPr lang="en-US" sz="1600" dirty="0"/>
              <a:t> and </a:t>
            </a:r>
            <a:r>
              <a:rPr lang="en-US" sz="1600" dirty="0" err="1"/>
              <a:t>Controlword</a:t>
            </a:r>
            <a:r>
              <a:rPr lang="en-US" sz="1600" dirty="0"/>
              <a:t> are pre-linked to the NC Task-Axis 1.</a:t>
            </a:r>
          </a:p>
          <a:p>
            <a:r>
              <a:rPr lang="en-US" sz="1600" dirty="0"/>
              <a:t>Inputs-&gt;</a:t>
            </a:r>
            <a:r>
              <a:rPr lang="en-US" sz="1600" dirty="0" err="1"/>
              <a:t>Statusword</a:t>
            </a:r>
            <a:endParaRPr lang="en-US" sz="1600" dirty="0"/>
          </a:p>
          <a:p>
            <a:r>
              <a:rPr lang="en-US" sz="1600" dirty="0"/>
              <a:t>On the left below shows the Link for </a:t>
            </a:r>
            <a:r>
              <a:rPr lang="en-US" sz="1600" dirty="0" err="1"/>
              <a:t>Statusword</a:t>
            </a:r>
            <a:r>
              <a:rPr lang="en-US" sz="1600" dirty="0"/>
              <a:t> (Object 6041)</a:t>
            </a:r>
          </a:p>
          <a:p>
            <a:r>
              <a:rPr lang="en-US" sz="1600" dirty="0"/>
              <a:t>When clicking the “Linked To” button the right window appears showing the link to the NC Task-Axis 1.</a:t>
            </a:r>
          </a:p>
          <a:p>
            <a:pPr marL="0" indent="0">
              <a:buNone/>
            </a:pPr>
            <a:endParaRPr lang="en-US" sz="1600" dirty="0"/>
          </a:p>
          <a:p>
            <a:endParaRPr lang="en-US" sz="16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954" y="171991"/>
            <a:ext cx="10515600" cy="620713"/>
          </a:xfrm>
        </p:spPr>
        <p:txBody>
          <a:bodyPr/>
          <a:lstStyle/>
          <a:p>
            <a:r>
              <a:rPr lang="en-US" sz="2800" dirty="0"/>
              <a:t>STEP 13: Linking PDOs to NC Task-Axis 1 (</a:t>
            </a:r>
            <a:r>
              <a:rPr lang="en-US" sz="2800" dirty="0" err="1"/>
              <a:t>Statusword</a:t>
            </a:r>
            <a:r>
              <a:rPr lang="en-US" sz="2800" dirty="0"/>
              <a:t>)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88FACF7-B0E3-1DB1-9F54-309351A949D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991" y="2449881"/>
            <a:ext cx="6221772" cy="358925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272516ED-FD33-D1CC-8E97-4F32C79494F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24763" y="2473028"/>
            <a:ext cx="5000443" cy="40328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020229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675F0AB0-64C6-9C49-B5D4-5B1A349103E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72296" y="689176"/>
            <a:ext cx="10937112" cy="5676900"/>
          </a:xfrm>
        </p:spPr>
        <p:txBody>
          <a:bodyPr/>
          <a:lstStyle/>
          <a:p>
            <a:r>
              <a:rPr lang="en-US" sz="4000" dirty="0"/>
              <a:t>TwinCAT3 to AKD </a:t>
            </a:r>
            <a:r>
              <a:rPr lang="en-US" sz="4000" dirty="0" err="1"/>
              <a:t>EtherCAT</a:t>
            </a:r>
            <a:r>
              <a:rPr lang="en-US" sz="4000" dirty="0"/>
              <a:t> Setup and Demonstration using ESI Default Settings and Mapping and Default </a:t>
            </a:r>
            <a:r>
              <a:rPr lang="en-US" sz="4000" dirty="0" err="1"/>
              <a:t>EtherCAT</a:t>
            </a:r>
            <a:r>
              <a:rPr lang="en-US" sz="4000" dirty="0"/>
              <a:t> Scaling</a:t>
            </a:r>
          </a:p>
        </p:txBody>
      </p:sp>
    </p:spTree>
    <p:extLst>
      <p:ext uri="{BB962C8B-B14F-4D97-AF65-F5344CB8AC3E}">
        <p14:creationId xmlns:p14="http://schemas.microsoft.com/office/powerpoint/2010/main" val="361206770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48" y="1003982"/>
            <a:ext cx="11134725" cy="4638676"/>
          </a:xfrm>
        </p:spPr>
        <p:txBody>
          <a:bodyPr/>
          <a:lstStyle/>
          <a:p>
            <a:r>
              <a:rPr lang="en-US" sz="1600" dirty="0"/>
              <a:t>Under the Solution Explorer Drive 1(AKD) click on “Position actual internal value” under Inputs as shown on the left below.</a:t>
            </a:r>
          </a:p>
          <a:p>
            <a:r>
              <a:rPr lang="en-US" sz="1600" dirty="0"/>
              <a:t>In the middle screenshot the “Variable” tab the “Linked To” field is empty (no link) for Position actual internal value (object 6063),</a:t>
            </a:r>
          </a:p>
          <a:p>
            <a:r>
              <a:rPr lang="en-US" sz="1600" dirty="0"/>
              <a:t>On click of the “Linked To” button the right window “Attach Variable Position actual value (Input)” appears showing the appropriate link to the NC Task-Axis 1.</a:t>
            </a:r>
          </a:p>
          <a:p>
            <a:r>
              <a:rPr lang="en-US" sz="1600" dirty="0"/>
              <a:t>Link the “Position actual internal value” to the NC Task-Axis 1 as shown and click OK.</a:t>
            </a:r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954" y="171991"/>
            <a:ext cx="10515600" cy="620713"/>
          </a:xfrm>
        </p:spPr>
        <p:txBody>
          <a:bodyPr/>
          <a:lstStyle/>
          <a:p>
            <a:r>
              <a:rPr lang="en-US" sz="2000" dirty="0"/>
              <a:t>STEP 13: Linking PDOs to NC Task-Axis 1 (Position Actual Internal Value)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520F7D7-BA73-F739-8C7A-AA378DB6987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0075" y="3079776"/>
            <a:ext cx="6194095" cy="3606233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54803E5E-035C-F8B0-BC27-4CFBB6F5EC4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15194" y="3062414"/>
            <a:ext cx="4631114" cy="37782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9353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2448" y="1003982"/>
            <a:ext cx="11134725" cy="4638676"/>
          </a:xfrm>
        </p:spPr>
        <p:txBody>
          <a:bodyPr/>
          <a:lstStyle/>
          <a:p>
            <a:r>
              <a:rPr lang="en-US" sz="1600" dirty="0"/>
              <a:t>Under the Solution Explorer Drive 1(AKD) click on 1</a:t>
            </a:r>
            <a:r>
              <a:rPr lang="en-US" sz="1600" baseline="30000" dirty="0"/>
              <a:t>st</a:t>
            </a:r>
            <a:r>
              <a:rPr lang="en-US" sz="1600" dirty="0"/>
              <a:t> set-point under Outputs as shown on the left below.</a:t>
            </a:r>
          </a:p>
          <a:p>
            <a:r>
              <a:rPr lang="en-US" sz="1600" dirty="0"/>
              <a:t>In the middle screenshot the “Variable” tab the “Linked To” field is empty (no link) for 1</a:t>
            </a:r>
            <a:r>
              <a:rPr lang="en-US" sz="1600" baseline="30000" dirty="0"/>
              <a:t>st</a:t>
            </a:r>
            <a:r>
              <a:rPr lang="en-US" sz="1600" dirty="0"/>
              <a:t> set-point (Object 60C1h sub 1)</a:t>
            </a:r>
          </a:p>
          <a:p>
            <a:r>
              <a:rPr lang="en-US" sz="1600" dirty="0"/>
              <a:t>On click of the </a:t>
            </a:r>
            <a:r>
              <a:rPr lang="en-US" sz="1600" dirty="0" err="1"/>
              <a:t>the</a:t>
            </a:r>
            <a:r>
              <a:rPr lang="en-US" sz="1600" dirty="0"/>
              <a:t> “Linked To” button the right window  “Attach Variable 1</a:t>
            </a:r>
            <a:r>
              <a:rPr lang="en-US" sz="1600" baseline="30000" dirty="0"/>
              <a:t>st</a:t>
            </a:r>
            <a:r>
              <a:rPr lang="en-US" sz="1600" dirty="0"/>
              <a:t> set-point (Output)” appears showing the appropriate link to the NC Task-Axis 1.</a:t>
            </a:r>
          </a:p>
          <a:p>
            <a:r>
              <a:rPr lang="en-US" sz="1600" dirty="0"/>
              <a:t>Link the 1</a:t>
            </a:r>
            <a:r>
              <a:rPr lang="en-US" sz="1600" baseline="30000" dirty="0"/>
              <a:t>st</a:t>
            </a:r>
            <a:r>
              <a:rPr lang="en-US" sz="1600" dirty="0"/>
              <a:t> set-point (output) to the NC Task-Axis 1 as shown and click OK.</a:t>
            </a:r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954" y="171991"/>
            <a:ext cx="10515600" cy="620713"/>
          </a:xfrm>
        </p:spPr>
        <p:txBody>
          <a:bodyPr/>
          <a:lstStyle/>
          <a:p>
            <a:r>
              <a:rPr lang="en-US" sz="2000" dirty="0"/>
              <a:t>STEP 13: Linking PDOs to NC Task-Axis 1 (1</a:t>
            </a:r>
            <a:r>
              <a:rPr lang="en-US" sz="2000" baseline="30000" dirty="0"/>
              <a:t>st</a:t>
            </a:r>
            <a:r>
              <a:rPr lang="en-US" sz="2000" dirty="0"/>
              <a:t> set-point)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B8EE663-8A1B-0CF9-E603-17308BC32BE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20954" y="2511074"/>
            <a:ext cx="6119650" cy="3674235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E424F0FC-E5E0-0E34-0B03-9968A7E1630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46188" y="2511074"/>
            <a:ext cx="4626143" cy="37627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9785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109662"/>
            <a:ext cx="11134725" cy="4638676"/>
          </a:xfrm>
        </p:spPr>
        <p:txBody>
          <a:bodyPr/>
          <a:lstStyle/>
          <a:p>
            <a:r>
              <a:rPr lang="en-US" sz="1800" dirty="0"/>
              <a:t>Under NC-Task- Axis 1 click on the Parameter tab as shown and expand the Monitoring group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4: Disable monitoring for Bench Te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B6ECFDD-04B5-D8C6-21C3-BF8EF34342E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1038" y="1563190"/>
            <a:ext cx="11312324" cy="3569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431385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109662"/>
            <a:ext cx="11134725" cy="4638676"/>
          </a:xfrm>
        </p:spPr>
        <p:txBody>
          <a:bodyPr/>
          <a:lstStyle/>
          <a:p>
            <a:r>
              <a:rPr lang="en-US" sz="1800" dirty="0"/>
              <a:t>Change the 3 positioning monitoring settings from the default “TRUE” to “FALSE”.</a:t>
            </a:r>
          </a:p>
          <a:p>
            <a:pPr marL="0" indent="0">
              <a:buNone/>
            </a:pPr>
            <a:r>
              <a:rPr lang="en-US" sz="1800" dirty="0"/>
              <a:t>      Note: Disabling positioning monitoring assumes a bench test. In a real application these settings are the</a:t>
            </a:r>
          </a:p>
          <a:p>
            <a:pPr marL="0" indent="0">
              <a:buNone/>
            </a:pPr>
            <a:r>
              <a:rPr lang="en-US" sz="1800" dirty="0"/>
              <a:t>     programmer’s responsibility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4: Disable monitoring for Bench Test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6BFDF09-DBBB-6999-A276-4E3BD3F0D0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48114" y="2205695"/>
            <a:ext cx="6771795" cy="44482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0494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4: Disable monitoring for Bench Test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579CF89C-23BA-E34B-F7ED-98FAAC1726C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48" y="1451262"/>
            <a:ext cx="6696002" cy="4345999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A771BEB-D344-82ED-7D41-E5DFECA22F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489371" y="1451262"/>
            <a:ext cx="3324689" cy="106694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674226" y="914400"/>
            <a:ext cx="99860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Click the Save icon in the toolbar to save these settings.</a:t>
            </a:r>
          </a:p>
        </p:txBody>
      </p:sp>
    </p:spTree>
    <p:extLst>
      <p:ext uri="{BB962C8B-B14F-4D97-AF65-F5344CB8AC3E}">
        <p14:creationId xmlns:p14="http://schemas.microsoft.com/office/powerpoint/2010/main" val="216593793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5: Set Axis Units and Sca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674226" y="914400"/>
            <a:ext cx="9986058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Under NC-Task-&gt;Axes-&gt;Axis 1 click the “Settings” tab. The default Unit is “mm” which will be used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6F859D2-D80A-4890-FE7C-FF89BC2CB91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81533" y="1409418"/>
            <a:ext cx="9678751" cy="40391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09586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5: Set Axis Units and Sca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674226" y="914400"/>
            <a:ext cx="998605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Under NC-Task-&gt;Axes-&gt;Axis 1-&gt;Enc click the “Parameter” tab. The Scaling Factor Numerator and Denominator are shown with default value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EAB99C8-846B-AA6F-046A-72F4F8783C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3929" y="1646595"/>
            <a:ext cx="10455797" cy="42970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1291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5: Set Axis Units and Sca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674226" y="914400"/>
            <a:ext cx="998605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In Workbench when FBUS.PARAM05=0 and FB1.PSCALE=20 (both default values) </a:t>
            </a:r>
            <a:r>
              <a:rPr lang="en-US" sz="1800" dirty="0" err="1"/>
              <a:t>EtherCAT</a:t>
            </a:r>
            <a:r>
              <a:rPr lang="en-US" sz="1800" dirty="0"/>
              <a:t> scaling for IP Mode is 2^20 or 1048576 counts per rev of mot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this example Workbench Units is set for a 5mm per rev </a:t>
            </a:r>
            <a:r>
              <a:rPr lang="en-US" dirty="0" err="1"/>
              <a:t>ballscrew</a:t>
            </a:r>
            <a:r>
              <a:rPr lang="en-US" dirty="0"/>
              <a:t> with position, velocity, and acceleration units set to 3-Custom (mechanics dependent) and units in mm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Keep in mind Workbench Units are for values displayed or set in Workbench and not related to </a:t>
            </a:r>
            <a:r>
              <a:rPr lang="en-US" sz="1800" dirty="0" err="1"/>
              <a:t>EtherCAT</a:t>
            </a:r>
            <a:r>
              <a:rPr lang="en-US" sz="1800" dirty="0"/>
              <a:t> scaling (this example is setup so Workbench and </a:t>
            </a:r>
            <a:r>
              <a:rPr lang="en-US" sz="1800" dirty="0" err="1"/>
              <a:t>EtherCAT</a:t>
            </a:r>
            <a:r>
              <a:rPr lang="en-US" sz="1800" dirty="0"/>
              <a:t> units agree)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77D6FE7-FCBA-5060-80AA-940616D03E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48" y="2618967"/>
            <a:ext cx="4601217" cy="2934109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F64ABEA2-747F-9362-6140-E5A09334712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30800" y="2740168"/>
            <a:ext cx="5229484" cy="40364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40154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5: Set Axis Units and Scaling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361709" y="1167464"/>
            <a:ext cx="9986058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turning to TwinCAT3 and setting the Scaling Factor Numerator and Denominator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Scaling Factor Numerator is in mm for TwinCAT3 which will be set to 5 mm (the lead of the </a:t>
            </a:r>
            <a:r>
              <a:rPr lang="en-US" sz="1600" dirty="0" err="1"/>
              <a:t>ballscrew</a:t>
            </a:r>
            <a:r>
              <a:rPr lang="en-US" sz="1600" dirty="0"/>
              <a:t> in this example)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 Scaling Factor Denominator will be set to 1048576 (equivalent to the number of counts per rev in </a:t>
            </a:r>
            <a:r>
              <a:rPr lang="en-US" sz="1600" dirty="0" err="1"/>
              <a:t>EtherCAT</a:t>
            </a:r>
            <a:r>
              <a:rPr lang="en-US" sz="1600" dirty="0"/>
              <a:t> units for the AKD driv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lick the Download button and then Save now button on the Persistent Changes pop-up window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0E59E65-18D3-6B56-6164-30A2896B222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3020" y="2875899"/>
            <a:ext cx="6095183" cy="388371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FECB9481-41F7-8C0D-8CDC-89F54D26C0D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790646" y="2875899"/>
            <a:ext cx="3820058" cy="1476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6154710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6: Set Manual Velocity for Jogging From Conso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361709" y="1167464"/>
            <a:ext cx="99860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Return to the NC-Task-&gt;Axes-&gt;Axis 1-&gt;Parameter tab to adjust the Manual Velocity settings. These are correlated to with the +/- (slow) and ++/-- (fast) buttons on the Console in TwinCAT3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B95B508-A18A-3D61-8DA1-59C2D243EA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826" y="1716328"/>
            <a:ext cx="10583119" cy="42272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26245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Identify what version of firmware is resident in the AKD drive using Workbench.</a:t>
            </a:r>
          </a:p>
          <a:p>
            <a:r>
              <a:rPr lang="en-US" sz="1800" dirty="0"/>
              <a:t>Navigate to the Drive Overview screen and click More to see the Firmware Version.</a:t>
            </a:r>
          </a:p>
          <a:p>
            <a:r>
              <a:rPr lang="en-US" sz="1800" dirty="0"/>
              <a:t>The firmware used in this presentation is 1-23-00-002.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: Identify the AKD Drive Firmwar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20771E7-761A-A82D-B1D8-A0A8AC8A6F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91250" y="2348686"/>
            <a:ext cx="7870785" cy="4056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7671427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16: Set Manual Velocity for Jogging From Conso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81C9E9A-3374-4FC2-9F60-3E416685CCDE}"/>
              </a:ext>
            </a:extLst>
          </p:cNvPr>
          <p:cNvSpPr txBox="1"/>
          <p:nvPr/>
        </p:nvSpPr>
        <p:spPr>
          <a:xfrm>
            <a:off x="361709" y="1167464"/>
            <a:ext cx="9986058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These settings are application dependent. For this demonstration they are changed to 10 mm/s (fast) and 5 mm/s (slow). Save settings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7699C5D8-4E16-5D89-16A7-56E2407FD4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7079" y="1884139"/>
            <a:ext cx="6312356" cy="4059461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D346F2E-292C-759B-5D5C-B702930B8B9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34065" y="1884139"/>
            <a:ext cx="2838846" cy="9621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1971660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Activate Configuration in the toolbar and click ok.</a:t>
            </a:r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7: Generate Mappings, Activate Config, Restart in Run Mo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1"/>
            <a:ext cx="85739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Right-click </a:t>
            </a:r>
            <a:r>
              <a:rPr lang="en-US" dirty="0"/>
              <a:t>“</a:t>
            </a:r>
            <a:r>
              <a:rPr lang="en-US" sz="1800" dirty="0"/>
              <a:t>Mappings” in the Solution Explorer and click “Generate Mappings”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F80364-FAB8-FF9E-DECC-60FA958727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0922" y="1847925"/>
            <a:ext cx="5068007" cy="1181265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2B185E0-C8E4-AEE0-202C-9450485637F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922" y="3828810"/>
            <a:ext cx="3334215" cy="172426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B6BB38F-85CB-657F-1445-A4B8D55D6CE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303610" y="3807047"/>
            <a:ext cx="2981741" cy="1705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9398017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r>
              <a:rPr lang="en-US" sz="1800" dirty="0"/>
              <a:t>The TwinCAT3 status bar shows “Ready” on the left and the icon on the right increments numerical indicating the TwinCAT3 project is running.</a:t>
            </a:r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7: Generate Mappings, Activate Config, Restart in Run Mod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Click OK to start run mode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98C9B33-999A-91AC-F9A2-91BEC05945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00466" y="1674256"/>
            <a:ext cx="2705478" cy="1448002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799B369A-AB48-4967-16F5-9C3A1856C40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021" y="3936335"/>
            <a:ext cx="10174120" cy="3048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36055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PL.CMD (position command) and PL.FB (position feedback) are added to the Watch window in Workbench for convenience</a:t>
            </a:r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st note in Workbench the axis is inactive and SW (software enable) is off but the drive is ready to be enabled.</a:t>
            </a:r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CC44D7F-0DEA-822B-022E-0F18AB6E48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9021" y="1966076"/>
            <a:ext cx="3810532" cy="2857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07F1D90-268E-DC52-4218-0F04139B049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9021" y="3165660"/>
            <a:ext cx="6563641" cy="10955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4666520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981758"/>
            <a:ext cx="103332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avigate to the Console in TwinCAT3 by clicking on the AKD drive in the Solution Explorer and then click on the NC-Online tab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ote: The console also be accessed by navigating to NC-Task-&gt;Axes-&gt;Axis 1-&gt; NC-Online tab.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9141239-95A4-0E9E-1BC6-B02942E14B9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8008" y="2108971"/>
            <a:ext cx="10333298" cy="4892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2138205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 </a:t>
            </a:r>
          </a:p>
          <a:p>
            <a:endParaRPr lang="en-US" sz="1800" dirty="0"/>
          </a:p>
          <a:p>
            <a:r>
              <a:rPr lang="en-US" sz="1800" dirty="0"/>
              <a:t>The Workbench status bar indicates the axis is enabled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23083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Click the “Set” button under Enabling in the Cons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On the Set</a:t>
            </a:r>
            <a:r>
              <a:rPr lang="en-US" dirty="0"/>
              <a:t> Enabling pop-up window click the “All” button or check all 3 boxes and set the override to an appropriate value.</a:t>
            </a:r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631BDB73-5255-7CF9-D6B9-4A250ACD4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780" y="3624262"/>
            <a:ext cx="2000529" cy="1476581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658B8D3-B63A-B45C-B4C5-E7BFCCB2C4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49" y="5704563"/>
            <a:ext cx="3686689" cy="314369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77AFF8EC-DB9F-1FE9-B4DE-54CC0659C50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0035" y="1604793"/>
            <a:ext cx="1806798" cy="10342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127658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Jogging from the Cons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+/- buttons</a:t>
            </a:r>
            <a:r>
              <a:rPr lang="en-US" sz="1800" dirty="0"/>
              <a:t> Jog </a:t>
            </a:r>
            <a:r>
              <a:rPr lang="en-US" dirty="0"/>
              <a:t>Increment Forward/Revers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++/-- buttons Jog at the Manual Velocity Fast/Slow as set by step 16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These rates can be changed under NC-Task-&gt;Axes-&gt;Axis 1-&gt;Parameter Tab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586E1FC-0623-0056-7487-68D8C3FBB2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008" y="2765932"/>
            <a:ext cx="4529189" cy="340643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A4B21DAC-6D69-01B7-2A46-19AEBDFB89F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509549" y="2765932"/>
            <a:ext cx="5958814" cy="38320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322813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With F2 (-) held down and monitoring in Workbench under Axis 1-&gt;Velocity Loop-&gt;Status tab the axis jogs at the velocity of -5 mm/s</a:t>
            </a:r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ith F3 (+) held down and monitoring in Workbench under Axis 1-&gt;Velocity Loop-&gt;Status tab the axis jogs at the velocity of +5 mm/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573626A6-7776-4DCB-2E0A-681B277F9B8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3386" y="4315262"/>
            <a:ext cx="2848373" cy="151468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D63C6B77-2582-1CCE-1208-A19E7A408D0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61244" y="1970038"/>
            <a:ext cx="2724530" cy="13717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09247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With F1 (--) held down and monitoring in Workbench under Axis 1-&gt;Velocity Loop-&gt;Status tab the axis jogs at the velocity of -10 mm/s</a:t>
            </a:r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ith F4 (++) held down and monitoring in Workbench under Axis 1-&gt;Velocity Loop-&gt;Status tab the axis jogs at the velocity of +10 mm/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8A14149-261B-780C-C97B-28119C3C33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277" y="1866682"/>
            <a:ext cx="2934109" cy="1562318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04D654B-D18B-3306-DB18-D9845BE3D87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51799" y="4333650"/>
            <a:ext cx="2848373" cy="1609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556975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Making A Positional Move via the Cons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Target Position and Target Velocity for the move are entered here.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8E7EB7F-DBD4-FC89-5F37-191BE794C7A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2449" y="2028279"/>
            <a:ext cx="5772956" cy="3915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260972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Download the firmware zip file that matches the resident drive firmware from the Kollmorgen website and </a:t>
            </a:r>
            <a:r>
              <a:rPr lang="en-US" sz="1800" dirty="0" err="1"/>
              <a:t>and</a:t>
            </a:r>
            <a:r>
              <a:rPr lang="en-US" sz="1800" dirty="0"/>
              <a:t> extract all.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2: Download the firmware zip file</a:t>
            </a:r>
          </a:p>
        </p:txBody>
      </p:sp>
    </p:spTree>
    <p:extLst>
      <p:ext uri="{BB962C8B-B14F-4D97-AF65-F5344CB8AC3E}">
        <p14:creationId xmlns:p14="http://schemas.microsoft.com/office/powerpoint/2010/main" val="107634046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408008" y="1188520"/>
            <a:ext cx="10333298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For this demonstration, a target velocity of 20 mm/s and a target position of 325 mm are </a:t>
            </a:r>
            <a:r>
              <a:rPr lang="en-US" dirty="0"/>
              <a:t>entered.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Keep in mind the accel/</a:t>
            </a:r>
            <a:r>
              <a:rPr lang="en-US" sz="1800" dirty="0" err="1"/>
              <a:t>decel</a:t>
            </a:r>
            <a:r>
              <a:rPr lang="en-US" sz="1800" dirty="0"/>
              <a:t> and maximum sp</a:t>
            </a:r>
            <a:r>
              <a:rPr lang="en-US" dirty="0"/>
              <a:t>eed limits </a:t>
            </a:r>
            <a:r>
              <a:rPr lang="en-US" sz="1800" dirty="0"/>
              <a:t>settings in the  NC-Task-&gt;Axes-&gt;Axis 1 are used. The maximum speed limits will prevent the motion </a:t>
            </a:r>
            <a:r>
              <a:rPr lang="en-US" dirty="0"/>
              <a:t>command from executing. </a:t>
            </a:r>
            <a:r>
              <a:rPr lang="en-US" sz="1800" dirty="0"/>
              <a:t>Adjust if necessary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Press the F5 (green) button to start the move and watch the position actual in the Cons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800" dirty="0"/>
              <a:t>When </a:t>
            </a:r>
            <a:r>
              <a:rPr lang="en-US" dirty="0"/>
              <a:t>move is complete the position actual shows 325.0000 mm in both the Console and in Workbench.</a:t>
            </a: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E38BB30-72DF-8922-68F8-24E93B98D9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8008" y="2815694"/>
            <a:ext cx="5002866" cy="3451977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DD601E26-F6D4-4A3F-6E0F-1DFA12C279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478686" y="5943600"/>
            <a:ext cx="5769034" cy="9144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94D0D87-7F83-475C-76E0-3F823A39EC8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40264" y="2815694"/>
            <a:ext cx="4372516" cy="30834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972192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pPr marL="0" indent="0">
              <a:buNone/>
            </a:pPr>
            <a:r>
              <a:rPr lang="en-US" sz="1800" dirty="0"/>
              <a:t>Note: The drive will also disable if only the Controller checkbox is unchecked.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r>
              <a:rPr lang="en-US" sz="1800" dirty="0"/>
              <a:t>From the Workbench Status bar the axis is now disabled.</a:t>
            </a:r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4172" y="293687"/>
            <a:ext cx="10515600" cy="620713"/>
          </a:xfrm>
        </p:spPr>
        <p:txBody>
          <a:bodyPr/>
          <a:lstStyle/>
          <a:p>
            <a:r>
              <a:rPr lang="en-US" sz="2400" dirty="0"/>
              <a:t>STEP 18: Enabling and Generating Motion from the Conso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8C6435F-B1FC-3159-A1D7-32233CFA3EE9}"/>
              </a:ext>
            </a:extLst>
          </p:cNvPr>
          <p:cNvSpPr txBox="1"/>
          <p:nvPr/>
        </p:nvSpPr>
        <p:spPr>
          <a:xfrm>
            <a:off x="244225" y="1102327"/>
            <a:ext cx="1033329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isable the axis by clicking the Set button under Enabling in the Consol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Uncheck all 3 checkboxes and set the Override % to zero and click O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800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3E7D3BC-B28E-AA60-3AAF-13A290D408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8502" y="1914335"/>
            <a:ext cx="1971950" cy="1438476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209C6716-ECE4-BD90-986C-1A9A4EEE15B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8502" y="5998539"/>
            <a:ext cx="3762900" cy="29531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410170E1-B42A-A940-B1EA-057D76C2E20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57054" y="3962222"/>
            <a:ext cx="1952898" cy="1438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8796380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8337830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974498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Setting up TwinCAT3 for operation with the AKD drive is almost identical to TwinCAT2. Some of the terminology is different and the xml file goes in a different location but the general process is the same.</a:t>
            </a:r>
          </a:p>
          <a:p>
            <a:endParaRPr lang="en-US" sz="1800" dirty="0"/>
          </a:p>
          <a:p>
            <a:r>
              <a:rPr lang="en-US" sz="1800" dirty="0"/>
              <a:t>There are 2 XML files for the AKD </a:t>
            </a:r>
            <a:r>
              <a:rPr lang="en-US" sz="1800" dirty="0" err="1"/>
              <a:t>EtherCAT</a:t>
            </a:r>
            <a:r>
              <a:rPr lang="en-US" sz="1800" dirty="0"/>
              <a:t> drive: One for TwinCAT2 and one for TwinCAT3. At some point in time the naming conventions for these XML files changed to make the naming more intuitive.</a:t>
            </a:r>
          </a:p>
          <a:p>
            <a:endParaRPr lang="en-US" sz="1800" dirty="0"/>
          </a:p>
          <a:p>
            <a:r>
              <a:rPr lang="en-US" sz="1800" dirty="0"/>
              <a:t>Original Naming Convention</a:t>
            </a:r>
          </a:p>
          <a:p>
            <a:pPr lvl="1"/>
            <a:r>
              <a:rPr lang="en-US" sz="1400" dirty="0"/>
              <a:t>TwinCAT3 XML file: “AKD </a:t>
            </a:r>
            <a:r>
              <a:rPr lang="en-US" sz="1400" dirty="0" err="1"/>
              <a:t>EtherCAT</a:t>
            </a:r>
            <a:r>
              <a:rPr lang="en-US" sz="1400" dirty="0"/>
              <a:t> Device Description.xml”</a:t>
            </a:r>
          </a:p>
          <a:p>
            <a:pPr lvl="1"/>
            <a:r>
              <a:rPr lang="en-US" sz="1400" dirty="0"/>
              <a:t>TwinCAT2 XML file: “AKD_TwinCAT.xml”</a:t>
            </a:r>
          </a:p>
          <a:p>
            <a:pPr lvl="1"/>
            <a:endParaRPr lang="en-US" sz="1400" dirty="0"/>
          </a:p>
          <a:p>
            <a:r>
              <a:rPr lang="en-US" sz="1800" dirty="0"/>
              <a:t>New Naming Convention</a:t>
            </a:r>
          </a:p>
          <a:p>
            <a:pPr lvl="1"/>
            <a:r>
              <a:rPr lang="en-US" sz="1400" dirty="0"/>
              <a:t>TwinCAT3 XML file: “AKD.xml”</a:t>
            </a:r>
          </a:p>
          <a:p>
            <a:pPr lvl="1"/>
            <a:r>
              <a:rPr lang="en-US" sz="1400" dirty="0"/>
              <a:t>TwinCAT2 XML file: “AKD_TwinCAT2.xml”.</a:t>
            </a:r>
          </a:p>
          <a:p>
            <a:endParaRPr lang="en-US" sz="1800" dirty="0"/>
          </a:p>
          <a:p>
            <a:endParaRPr lang="en-US" sz="1800" dirty="0"/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3: Locate the ESI file from the zip file.</a:t>
            </a:r>
          </a:p>
        </p:txBody>
      </p:sp>
    </p:spTree>
    <p:extLst>
      <p:ext uri="{BB962C8B-B14F-4D97-AF65-F5344CB8AC3E}">
        <p14:creationId xmlns:p14="http://schemas.microsoft.com/office/powerpoint/2010/main" val="125167681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This procedure will use latest firmware and XML file at the time of this presentation’s creation and will assume the new naming convention and use of TwinCAT3.</a:t>
            </a:r>
          </a:p>
          <a:p>
            <a:r>
              <a:rPr lang="en-US" sz="1800" dirty="0"/>
              <a:t>Locate the XML file named “AKD.xml” in the firmware zip file in the fieldbus folder.</a:t>
            </a:r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3: Locate the ESI file from the zip file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EED3A62-BFDC-BBA8-D646-30168AFB066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809612" y="2479327"/>
            <a:ext cx="6220693" cy="1343212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84E0DCF2-FFDE-1624-983A-345B85D2BA6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9612" y="3822539"/>
            <a:ext cx="8249801" cy="24387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30871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sz="1800" dirty="0"/>
              <a:t>Copy the “AKD.XML” and paste into the </a:t>
            </a:r>
            <a:r>
              <a:rPr lang="en-US" sz="1800" dirty="0" err="1"/>
              <a:t>TwinCAT</a:t>
            </a:r>
            <a:r>
              <a:rPr lang="en-US" sz="1800" dirty="0"/>
              <a:t> folder. </a:t>
            </a:r>
          </a:p>
          <a:p>
            <a:endParaRPr lang="en-US" sz="1800" dirty="0"/>
          </a:p>
          <a:p>
            <a:pPr marL="0" indent="0">
              <a:buNone/>
            </a:pPr>
            <a:endParaRPr lang="en-US" sz="1800" dirty="0"/>
          </a:p>
          <a:p>
            <a:endParaRPr lang="en-US" sz="1800" dirty="0"/>
          </a:p>
          <a:p>
            <a:endParaRPr lang="en-US" sz="1800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4: Copy the ESI file and paste to </a:t>
            </a:r>
            <a:r>
              <a:rPr lang="en-US" sz="2800" dirty="0" err="1"/>
              <a:t>TwinCAT</a:t>
            </a:r>
            <a:r>
              <a:rPr lang="en-US" sz="2800" dirty="0"/>
              <a:t> folder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0976B1C1-C419-CAB4-F31B-755C9A487AD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3349" y="1743928"/>
            <a:ext cx="7332595" cy="2519477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61B24DA0-3E45-EABA-6F56-3F03A48F78E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03349" y="4865467"/>
            <a:ext cx="7885277" cy="1550037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C3C097D4-A530-1474-FFDC-F4A23E0E12CE}"/>
              </a:ext>
            </a:extLst>
          </p:cNvPr>
          <p:cNvSpPr txBox="1"/>
          <p:nvPr/>
        </p:nvSpPr>
        <p:spPr>
          <a:xfrm>
            <a:off x="384859" y="4379770"/>
            <a:ext cx="6094070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1800" dirty="0"/>
              <a:t>After pasting and navigating to the </a:t>
            </a:r>
            <a:r>
              <a:rPr lang="en-US" sz="1800" dirty="0" err="1"/>
              <a:t>EtherCAT</a:t>
            </a:r>
            <a:r>
              <a:rPr lang="en-US" sz="1800" dirty="0"/>
              <a:t> folder:</a:t>
            </a:r>
          </a:p>
        </p:txBody>
      </p:sp>
    </p:spTree>
    <p:extLst>
      <p:ext uri="{BB962C8B-B14F-4D97-AF65-F5344CB8AC3E}">
        <p14:creationId xmlns:p14="http://schemas.microsoft.com/office/powerpoint/2010/main" val="142207609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109662"/>
            <a:ext cx="11134725" cy="4638676"/>
          </a:xfrm>
        </p:spPr>
        <p:txBody>
          <a:bodyPr/>
          <a:lstStyle/>
          <a:p>
            <a:r>
              <a:rPr lang="en-US" sz="1800" dirty="0"/>
              <a:t>Click on the </a:t>
            </a:r>
            <a:r>
              <a:rPr lang="en-US" sz="1800" dirty="0" err="1"/>
              <a:t>TwinCAT</a:t>
            </a:r>
            <a:r>
              <a:rPr lang="en-US" sz="1800" dirty="0"/>
              <a:t> icon in the system tray and click “</a:t>
            </a:r>
            <a:r>
              <a:rPr lang="en-US" sz="1800" dirty="0" err="1"/>
              <a:t>TwinCAT</a:t>
            </a:r>
            <a:r>
              <a:rPr lang="en-US" sz="1800" dirty="0"/>
              <a:t> XAE” to start the </a:t>
            </a:r>
            <a:r>
              <a:rPr lang="en-US" sz="1800" dirty="0" err="1"/>
              <a:t>TwinCAT</a:t>
            </a:r>
            <a:r>
              <a:rPr lang="en-US" sz="1800" dirty="0"/>
              <a:t> software. The Start Page opens. Click on the Start Page under New project-&gt;New </a:t>
            </a:r>
            <a:r>
              <a:rPr lang="en-US" sz="1800" dirty="0" err="1"/>
              <a:t>TwinCAT</a:t>
            </a:r>
            <a:r>
              <a:rPr lang="en-US" sz="1800" dirty="0"/>
              <a:t> project…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5: Open TwinCAT3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C3307F8-379A-32FC-DBC6-460068EE13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52448" y="1737293"/>
            <a:ext cx="2372056" cy="2210108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9548E71F-42AF-49EE-F9B7-5F28A15ECD8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560921" y="1858166"/>
            <a:ext cx="7466024" cy="47775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55541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C891FA9A-159D-AB45-8D4B-44438512A39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28637" y="1109662"/>
            <a:ext cx="11134725" cy="4638676"/>
          </a:xfrm>
        </p:spPr>
        <p:txBody>
          <a:bodyPr/>
          <a:lstStyle/>
          <a:p>
            <a:r>
              <a:rPr lang="en-US" sz="1800" dirty="0"/>
              <a:t>Give the new project a name and click OK.</a:t>
            </a:r>
          </a:p>
          <a:p>
            <a:pPr marL="0" indent="0">
              <a:buNone/>
            </a:pPr>
            <a:r>
              <a:rPr lang="en-US" sz="1800" dirty="0"/>
              <a:t>      Note the </a:t>
            </a:r>
            <a:r>
              <a:rPr lang="en-US" sz="1800" dirty="0" err="1"/>
              <a:t>TwinCAT</a:t>
            </a:r>
            <a:r>
              <a:rPr lang="en-US" sz="1800" dirty="0"/>
              <a:t> project type is “</a:t>
            </a:r>
            <a:r>
              <a:rPr lang="en-US" sz="1800" dirty="0" err="1"/>
              <a:t>TwinCAT</a:t>
            </a:r>
            <a:r>
              <a:rPr lang="en-US" sz="1800" dirty="0"/>
              <a:t> XAE Project (XML format)”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FF0C40D-8FCF-3849-9967-8617BED71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800" dirty="0"/>
              <a:t>STEP 6: Name the New Projec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7572C5B-0A29-337C-2E41-5DBED6DA535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06054" y="1784113"/>
            <a:ext cx="6753063" cy="46946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556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asterSlide">
  <a:themeElements>
    <a:clrScheme name="Kollmorgen">
      <a:dk1>
        <a:srgbClr val="3F403F"/>
      </a:dk1>
      <a:lt1>
        <a:srgbClr val="FFFFFF"/>
      </a:lt1>
      <a:dk2>
        <a:srgbClr val="191E6D"/>
      </a:dk2>
      <a:lt2>
        <a:srgbClr val="929392"/>
      </a:lt2>
      <a:accent1>
        <a:srgbClr val="00689D"/>
      </a:accent1>
      <a:accent2>
        <a:srgbClr val="A3DCF6"/>
      </a:accent2>
      <a:accent3>
        <a:srgbClr val="E18C1F"/>
      </a:accent3>
      <a:accent4>
        <a:srgbClr val="FFB900"/>
      </a:accent4>
      <a:accent5>
        <a:srgbClr val="6C1E46"/>
      </a:accent5>
      <a:accent6>
        <a:srgbClr val="A2628E"/>
      </a:accent6>
      <a:hlink>
        <a:srgbClr val="6C1E46"/>
      </a:hlink>
      <a:folHlink>
        <a:srgbClr val="A2628E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B35C5A83EEE44A3CA66B2605C13FB" ma:contentTypeVersion="11" ma:contentTypeDescription="Create a new document." ma:contentTypeScope="" ma:versionID="f564f289d55c1f104c879362db1c0ddf">
  <xsd:schema xmlns:xsd="http://www.w3.org/2001/XMLSchema" xmlns:xs="http://www.w3.org/2001/XMLSchema" xmlns:p="http://schemas.microsoft.com/office/2006/metadata/properties" xmlns:ns2="a824c6c0-5be8-4e25-9454-0684ecd5254d" xmlns:ns3="eb4673a1-4cea-45d1-bf2d-d0d59e4bd355" targetNamespace="http://schemas.microsoft.com/office/2006/metadata/properties" ma:root="true" ma:fieldsID="73acecdae21dc35e4bd60505dd3c8b95" ns2:_="" ns3:_="">
    <xsd:import namespace="a824c6c0-5be8-4e25-9454-0684ecd5254d"/>
    <xsd:import namespace="eb4673a1-4cea-45d1-bf2d-d0d59e4bd35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DateTaken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824c6c0-5be8-4e25-9454-0684ecd5254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4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5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b4673a1-4cea-45d1-bf2d-d0d59e4bd355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6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b4673a1-4cea-45d1-bf2d-d0d59e4bd355">
      <UserInfo>
        <DisplayName>McPeake, Janet</DisplayName>
        <AccountId>13</AccountId>
        <AccountType/>
      </UserInfo>
    </SharedWithUsers>
  </documentManagement>
</p:properti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7857541F-295D-C547-A7F4-77FB22A972B1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B9055FC-BF7D-4A23-A796-F78343093AA1}">
  <ds:schemaRefs>
    <ds:schemaRef ds:uri="a824c6c0-5be8-4e25-9454-0684ecd5254d"/>
    <ds:schemaRef ds:uri="eb4673a1-4cea-45d1-bf2d-d0d59e4bd355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84BBE8C-A840-41EF-9E36-9EF90EF05A14}">
  <ds:schemaRefs>
    <ds:schemaRef ds:uri="eb4673a1-4cea-45d1-bf2d-d0d59e4bd355"/>
    <ds:schemaRef ds:uri="http://schemas.microsoft.com/office/2006/metadata/properties"/>
    <ds:schemaRef ds:uri="http://schemas.openxmlformats.org/package/2006/metadata/core-properties"/>
    <ds:schemaRef ds:uri="http://purl.org/dc/dcmitype/"/>
    <ds:schemaRef ds:uri="http://www.w3.org/XML/1998/namespace"/>
    <ds:schemaRef ds:uri="http://purl.org/dc/elements/1.1/"/>
    <ds:schemaRef ds:uri="http://schemas.microsoft.com/office/2006/documentManagement/types"/>
    <ds:schemaRef ds:uri="http://schemas.microsoft.com/office/infopath/2007/PartnerControls"/>
    <ds:schemaRef ds:uri="a824c6c0-5be8-4e25-9454-0684ecd5254d"/>
    <ds:schemaRef ds:uri="http://purl.org/dc/terms/"/>
  </ds:schemaRefs>
</ds:datastoreItem>
</file>

<file path=customXml/itemProps4.xml><?xml version="1.0" encoding="utf-8"?>
<ds:datastoreItem xmlns:ds="http://schemas.openxmlformats.org/officeDocument/2006/customXml" ds:itemID="{689FDC06-8712-7C47-92B8-75DBB211A0D4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841</TotalTime>
  <Words>2308</Words>
  <Application>Microsoft Office PowerPoint</Application>
  <PresentationFormat>Widescreen</PresentationFormat>
  <Paragraphs>275</Paragraphs>
  <Slides>43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47" baseType="lpstr">
      <vt:lpstr>Arial</vt:lpstr>
      <vt:lpstr>Calibri</vt:lpstr>
      <vt:lpstr>MasterSlide</vt:lpstr>
      <vt:lpstr>think-cell Slide</vt:lpstr>
      <vt:lpstr>TwinCAT3 to AKD EtherCAT Setup and Demonstration using ESI Default Settings and Mapping and Default EtherCAT Scaling </vt:lpstr>
      <vt:lpstr>PowerPoint Presentation</vt:lpstr>
      <vt:lpstr>STEP 1: Identify the AKD Drive Firmware</vt:lpstr>
      <vt:lpstr>STEP 2: Download the firmware zip file</vt:lpstr>
      <vt:lpstr>STEP 3: Locate the ESI file from the zip file.</vt:lpstr>
      <vt:lpstr>STEP 3: Locate the ESI file from the zip file.</vt:lpstr>
      <vt:lpstr>STEP 4: Copy the ESI file and paste to TwinCAT folder</vt:lpstr>
      <vt:lpstr>STEP 5: Open TwinCAT3</vt:lpstr>
      <vt:lpstr>STEP 6: Name the New Project</vt:lpstr>
      <vt:lpstr>STEP 7: Scan For Devices</vt:lpstr>
      <vt:lpstr>STEP 7: Scan For Devices</vt:lpstr>
      <vt:lpstr>STEP 8: Scan For Boxes</vt:lpstr>
      <vt:lpstr>STEP 9: Click No to Activating Free Run Mode</vt:lpstr>
      <vt:lpstr>STEP 10: AKD is added to Devices</vt:lpstr>
      <vt:lpstr>STEP 11: Startup tab on Drive 1 (AKD)</vt:lpstr>
      <vt:lpstr>STEP 11: Startup tab on Drive 1 (AKD)</vt:lpstr>
      <vt:lpstr>STEP 12: Process Data ( PDO mapping )</vt:lpstr>
      <vt:lpstr>STEP 13: Linking PDOs to NC Task-Axis 1 (Controlword)</vt:lpstr>
      <vt:lpstr>STEP 13: Linking PDOs to NC Task-Axis 1 (Statusword)</vt:lpstr>
      <vt:lpstr>STEP 13: Linking PDOs to NC Task-Axis 1 (Position Actual Internal Value)</vt:lpstr>
      <vt:lpstr>STEP 13: Linking PDOs to NC Task-Axis 1 (1st set-point)</vt:lpstr>
      <vt:lpstr>STEP 14: Disable monitoring for Bench Test</vt:lpstr>
      <vt:lpstr>STEP 14: Disable monitoring for Bench Test</vt:lpstr>
      <vt:lpstr>STEP 14: Disable monitoring for Bench Test</vt:lpstr>
      <vt:lpstr>STEP 15: Set Axis Units and Scaling</vt:lpstr>
      <vt:lpstr>STEP 15: Set Axis Units and Scaling</vt:lpstr>
      <vt:lpstr>STEP 15: Set Axis Units and Scaling</vt:lpstr>
      <vt:lpstr>STEP 15: Set Axis Units and Scaling</vt:lpstr>
      <vt:lpstr>STEP 16: Set Manual Velocity for Jogging From Console</vt:lpstr>
      <vt:lpstr>STEP 16: Set Manual Velocity for Jogging From Console</vt:lpstr>
      <vt:lpstr>STEP 17: Generate Mappings, Activate Config, Restart in Run Mode</vt:lpstr>
      <vt:lpstr>STEP 17: Generate Mappings, Activate Config, Restart in Run Mod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STEP 18: Enabling and Generating Motion from the Console</vt:lpstr>
      <vt:lpstr>PowerPoint Presentation</vt:lpstr>
      <vt:lpstr>PowerPoint Presentation</vt:lpstr>
    </vt:vector>
  </TitlesOfParts>
  <Company>Danaher Mo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ixie.Smith</dc:creator>
  <cp:lastModifiedBy>Evans, Todd</cp:lastModifiedBy>
  <cp:revision>21</cp:revision>
  <cp:lastPrinted>2020-02-03T19:44:59Z</cp:lastPrinted>
  <dcterms:created xsi:type="dcterms:W3CDTF">2016-02-16T16:07:10Z</dcterms:created>
  <dcterms:modified xsi:type="dcterms:W3CDTF">2024-06-13T13:19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isplay_urn:schemas-microsoft-com:office:office#SharedWithUsers">
    <vt:lpwstr>McPeake, Janet</vt:lpwstr>
  </property>
  <property fmtid="{D5CDD505-2E9C-101B-9397-08002B2CF9AE}" pid="3" name="SharedWithUsers">
    <vt:lpwstr>13;#McPeake, Janet</vt:lpwstr>
  </property>
  <property fmtid="{D5CDD505-2E9C-101B-9397-08002B2CF9AE}" pid="4" name="ContentTypeId">
    <vt:lpwstr>0x010100569B35C5A83EEE44A3CA66B2605C13FB</vt:lpwstr>
  </property>
  <property fmtid="{D5CDD505-2E9C-101B-9397-08002B2CF9AE}" pid="5" name="_dlc_DocId">
    <vt:lpwstr>YUWNYFR2ZUNV-30301777-6</vt:lpwstr>
  </property>
  <property fmtid="{D5CDD505-2E9C-101B-9397-08002B2CF9AE}" pid="6" name="_dlc_DocIdItemGuid">
    <vt:lpwstr>eca3d264-c611-4878-8455-ec60c1e02308</vt:lpwstr>
  </property>
  <property fmtid="{D5CDD505-2E9C-101B-9397-08002B2CF9AE}" pid="7" name="_dlc_DocIdUrl">
    <vt:lpwstr>https://www.fortiveconnect.com/opco/kollmorgen/brandcenter/_layouts/15/DocIdRedir.aspx?ID=YUWNYFR2ZUNV-30301777-6, YUWNYFR2ZUNV-30301777-6</vt:lpwstr>
  </property>
</Properties>
</file>